
<file path=[Content_Types].xml><?xml version="1.0" encoding="utf-8"?>
<Types xmlns="http://schemas.openxmlformats.org/package/2006/content-types"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5.xml" ContentType="application/vnd.openxmlformats-officedocument.presentationml.tag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256" r:id="rId2"/>
    <p:sldId id="257" r:id="rId3"/>
    <p:sldId id="258" r:id="rId4"/>
  </p:sldIdLst>
  <p:sldSz cx="9144000" cy="13716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iego" initials="d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2" autoAdjust="0"/>
    <p:restoredTop sz="94718" autoAdjust="0"/>
  </p:normalViewPr>
  <p:slideViewPr>
    <p:cSldViewPr>
      <p:cViewPr>
        <p:scale>
          <a:sx n="60" d="100"/>
          <a:sy n="60" d="100"/>
        </p:scale>
        <p:origin x="-990" y="1536"/>
      </p:cViewPr>
      <p:guideLst>
        <p:guide orient="horz" pos="43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875721-5293-4117-8B41-604D2B6B3FBA}" type="datetimeFigureOut">
              <a:rPr lang="pt-BR" smtClean="0"/>
              <a:pPr/>
              <a:t>29/06/200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685800"/>
            <a:ext cx="228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FA7782-3A3F-4732-A6EB-301790242DF6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A7782-3A3F-4732-A6EB-301790242DF6}" type="slidenum">
              <a:rPr lang="pt-BR" smtClean="0"/>
              <a:pPr/>
              <a:t>1</a:t>
            </a:fld>
            <a:endParaRPr lang="pt-B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A7782-3A3F-4732-A6EB-301790242DF6}" type="slidenum">
              <a:rPr lang="pt-BR" smtClean="0"/>
              <a:pPr/>
              <a:t>2</a:t>
            </a:fld>
            <a:endParaRPr lang="pt-BR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A7782-3A3F-4732-A6EB-301790242DF6}" type="slidenum">
              <a:rPr lang="pt-BR" smtClean="0"/>
              <a:pPr/>
              <a:t>3</a:t>
            </a:fld>
            <a:endParaRPr lang="pt-B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260851"/>
            <a:ext cx="7772400" cy="29400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7772400"/>
            <a:ext cx="6400800" cy="35052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F2463-88C3-406C-95CF-99279EDD6B79}" type="datetimeFigureOut">
              <a:rPr lang="en-US" smtClean="0"/>
              <a:pPr/>
              <a:t>6/29/200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3820DF-73E7-4F23-AAFA-516A8094FEAA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F2463-88C3-406C-95CF-99279EDD6B79}" type="datetimeFigureOut">
              <a:rPr lang="en-US" smtClean="0"/>
              <a:pPr/>
              <a:t>6/29/200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3820DF-73E7-4F23-AAFA-516A8094FEAA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098550"/>
            <a:ext cx="2057400" cy="234061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098550"/>
            <a:ext cx="6019800" cy="234061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F2463-88C3-406C-95CF-99279EDD6B79}" type="datetimeFigureOut">
              <a:rPr lang="en-US" smtClean="0"/>
              <a:pPr/>
              <a:t>6/29/200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3820DF-73E7-4F23-AAFA-516A8094FEAA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F2463-88C3-406C-95CF-99279EDD6B79}" type="datetimeFigureOut">
              <a:rPr lang="en-US" smtClean="0"/>
              <a:pPr/>
              <a:t>6/29/200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3820DF-73E7-4F23-AAFA-516A8094FEAA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8813801"/>
            <a:ext cx="7772400" cy="27241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5813427"/>
            <a:ext cx="7772400" cy="3000374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F2463-88C3-406C-95CF-99279EDD6B79}" type="datetimeFigureOut">
              <a:rPr lang="en-US" smtClean="0"/>
              <a:pPr/>
              <a:t>6/29/200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3820DF-73E7-4F23-AAFA-516A8094FEAA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6400801"/>
            <a:ext cx="4038600" cy="18103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6400801"/>
            <a:ext cx="4038600" cy="18103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F2463-88C3-406C-95CF-99279EDD6B79}" type="datetimeFigureOut">
              <a:rPr lang="en-US" smtClean="0"/>
              <a:pPr/>
              <a:t>6/29/200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3820DF-73E7-4F23-AAFA-516A8094FEAA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49276"/>
            <a:ext cx="8229600" cy="2286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070226"/>
            <a:ext cx="4040188" cy="127952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4349750"/>
            <a:ext cx="4040188" cy="790257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3070226"/>
            <a:ext cx="4041775" cy="127952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4349750"/>
            <a:ext cx="4041775" cy="790257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F2463-88C3-406C-95CF-99279EDD6B79}" type="datetimeFigureOut">
              <a:rPr lang="en-US" smtClean="0"/>
              <a:pPr/>
              <a:t>6/29/200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3820DF-73E7-4F23-AAFA-516A8094FEAA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F2463-88C3-406C-95CF-99279EDD6B79}" type="datetimeFigureOut">
              <a:rPr lang="en-US" smtClean="0"/>
              <a:pPr/>
              <a:t>6/29/200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3820DF-73E7-4F23-AAFA-516A8094FEAA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F2463-88C3-406C-95CF-99279EDD6B79}" type="datetimeFigureOut">
              <a:rPr lang="en-US" smtClean="0"/>
              <a:pPr/>
              <a:t>6/29/200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3820DF-73E7-4F23-AAFA-516A8094FEAA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546100"/>
            <a:ext cx="3008313" cy="23241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546101"/>
            <a:ext cx="5111750" cy="11706226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2870201"/>
            <a:ext cx="3008313" cy="938212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F2463-88C3-406C-95CF-99279EDD6B79}" type="datetimeFigureOut">
              <a:rPr lang="en-US" smtClean="0"/>
              <a:pPr/>
              <a:t>6/29/200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3820DF-73E7-4F23-AAFA-516A8094FEAA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9601200"/>
            <a:ext cx="5486400" cy="113347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225550"/>
            <a:ext cx="5486400" cy="82296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10734676"/>
            <a:ext cx="5486400" cy="160972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F2463-88C3-406C-95CF-99279EDD6B79}" type="datetimeFigureOut">
              <a:rPr lang="en-US" smtClean="0"/>
              <a:pPr/>
              <a:t>6/29/200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3820DF-73E7-4F23-AAFA-516A8094FEAA}" type="slidenum">
              <a:rPr lang="en-US" smtClean="0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49276"/>
            <a:ext cx="8229600" cy="22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200401"/>
            <a:ext cx="8229600" cy="90519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12712701"/>
            <a:ext cx="2133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4F2463-88C3-406C-95CF-99279EDD6B79}" type="datetimeFigureOut">
              <a:rPr lang="en-US" smtClean="0"/>
              <a:pPr/>
              <a:t>6/29/200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12712701"/>
            <a:ext cx="2895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12712701"/>
            <a:ext cx="2133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3820DF-73E7-4F23-AAFA-516A8094FEAA}" type="slidenum">
              <a:rPr lang="en-US" smtClean="0"/>
              <a:pPr/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notesSlide" Target="../notesSlides/notesSlide2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image" Target="../media/image1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4.xml"/><Relationship Id="rId7" Type="http://schemas.openxmlformats.org/officeDocument/2006/relationships/image" Target="../media/image1.png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" name="Grupo 105"/>
          <p:cNvGrpSpPr/>
          <p:nvPr/>
        </p:nvGrpSpPr>
        <p:grpSpPr>
          <a:xfrm>
            <a:off x="609600" y="1600200"/>
            <a:ext cx="8001000" cy="10972800"/>
            <a:chOff x="609600" y="1600200"/>
            <a:chExt cx="8001000" cy="10972800"/>
          </a:xfrm>
        </p:grpSpPr>
        <p:grpSp>
          <p:nvGrpSpPr>
            <p:cNvPr id="81" name="Grupo 80"/>
            <p:cNvGrpSpPr/>
            <p:nvPr/>
          </p:nvGrpSpPr>
          <p:grpSpPr>
            <a:xfrm>
              <a:off x="609600" y="1600200"/>
              <a:ext cx="8001000" cy="10972800"/>
              <a:chOff x="609600" y="1600200"/>
              <a:chExt cx="8001000" cy="10972800"/>
            </a:xfrm>
          </p:grpSpPr>
          <p:grpSp>
            <p:nvGrpSpPr>
              <p:cNvPr id="176" name="Grupo 175"/>
              <p:cNvGrpSpPr/>
              <p:nvPr/>
            </p:nvGrpSpPr>
            <p:grpSpPr>
              <a:xfrm>
                <a:off x="609600" y="1600200"/>
                <a:ext cx="8001000" cy="10972800"/>
                <a:chOff x="762000" y="304800"/>
                <a:chExt cx="8001000" cy="10972800"/>
              </a:xfrm>
            </p:grpSpPr>
            <p:grpSp>
              <p:nvGrpSpPr>
                <p:cNvPr id="154" name="Grupo 153"/>
                <p:cNvGrpSpPr/>
                <p:nvPr/>
              </p:nvGrpSpPr>
              <p:grpSpPr>
                <a:xfrm>
                  <a:off x="762000" y="304800"/>
                  <a:ext cx="8001000" cy="10972800"/>
                  <a:chOff x="304800" y="-1295400"/>
                  <a:chExt cx="8001000" cy="10972800"/>
                </a:xfrm>
              </p:grpSpPr>
              <p:grpSp>
                <p:nvGrpSpPr>
                  <p:cNvPr id="100" name="Grupo 99"/>
                  <p:cNvGrpSpPr/>
                  <p:nvPr/>
                </p:nvGrpSpPr>
                <p:grpSpPr>
                  <a:xfrm>
                    <a:off x="304800" y="-1295400"/>
                    <a:ext cx="8001000" cy="10972800"/>
                    <a:chOff x="304800" y="-1295400"/>
                    <a:chExt cx="8001000" cy="10972800"/>
                  </a:xfrm>
                </p:grpSpPr>
                <p:grpSp>
                  <p:nvGrpSpPr>
                    <p:cNvPr id="68" name="Grupo 67"/>
                    <p:cNvGrpSpPr/>
                    <p:nvPr/>
                  </p:nvGrpSpPr>
                  <p:grpSpPr>
                    <a:xfrm>
                      <a:off x="304800" y="-1295400"/>
                      <a:ext cx="8001000" cy="10972800"/>
                      <a:chOff x="304800" y="-1249680"/>
                      <a:chExt cx="8001000" cy="10728960"/>
                    </a:xfrm>
                  </p:grpSpPr>
                  <p:grpSp>
                    <p:nvGrpSpPr>
                      <p:cNvPr id="63" name="Group 62"/>
                      <p:cNvGrpSpPr/>
                      <p:nvPr/>
                    </p:nvGrpSpPr>
                    <p:grpSpPr>
                      <a:xfrm>
                        <a:off x="1828800" y="-1249680"/>
                        <a:ext cx="5334000" cy="10728960"/>
                        <a:chOff x="1828800" y="-1249680"/>
                        <a:chExt cx="5334000" cy="10728960"/>
                      </a:xfrm>
                    </p:grpSpPr>
                    <p:sp>
                      <p:nvSpPr>
                        <p:cNvPr id="4" name="Rectangle 3"/>
                        <p:cNvSpPr/>
                        <p:nvPr/>
                      </p:nvSpPr>
                      <p:spPr>
                        <a:xfrm>
                          <a:off x="1828800" y="-1249680"/>
                          <a:ext cx="5334000" cy="10728960"/>
                        </a:xfrm>
                        <a:prstGeom prst="rect">
                          <a:avLst/>
                        </a:prstGeom>
                        <a:solidFill>
                          <a:schemeClr val="bg1"/>
                        </a:solidFill>
                        <a:ln>
                          <a:solidFill>
                            <a:schemeClr val="tx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en-US"/>
                        </a:p>
                      </p:txBody>
                    </p:sp>
                    <p:sp>
                      <p:nvSpPr>
                        <p:cNvPr id="62" name="Rectangle 61"/>
                        <p:cNvSpPr/>
                        <p:nvPr/>
                      </p:nvSpPr>
                      <p:spPr>
                        <a:xfrm>
                          <a:off x="5715000" y="-1249680"/>
                          <a:ext cx="1447800" cy="304800"/>
                        </a:xfrm>
                        <a:prstGeom prst="rect">
                          <a:avLst/>
                        </a:prstGeom>
                        <a:noFill/>
                        <a:ln>
                          <a:solidFill>
                            <a:schemeClr val="tx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r>
                            <a:rPr lang="en-US" dirty="0" smtClean="0">
                              <a:solidFill>
                                <a:schemeClr val="tx1"/>
                              </a:solidFill>
                            </a:rPr>
                            <a:t>VF1 - </a:t>
                          </a:r>
                          <a:r>
                            <a:rPr lang="en-US" dirty="0" err="1" smtClean="0">
                              <a:solidFill>
                                <a:schemeClr val="tx1"/>
                              </a:solidFill>
                            </a:rPr>
                            <a:t>Cliente</a:t>
                          </a:r>
                          <a:endParaRPr lang="en-US" dirty="0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</p:grpSp>
                  <p:sp>
                    <p:nvSpPr>
                      <p:cNvPr id="5" name="Oval 4"/>
                      <p:cNvSpPr/>
                      <p:nvPr/>
                    </p:nvSpPr>
                    <p:spPr>
                      <a:xfrm>
                        <a:off x="2209800" y="1219200"/>
                        <a:ext cx="1600200" cy="609600"/>
                      </a:xfrm>
                      <a:prstGeom prst="ellipse">
                        <a:avLst/>
                      </a:prstGeom>
                      <a:solidFill>
                        <a:schemeClr val="bg1">
                          <a:lumMod val="75000"/>
                        </a:schemeClr>
                      </a:solidFill>
                      <a:ln w="3175"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Iniciar</a:t>
                        </a:r>
                        <a:r>
                          <a:rPr lang="en-US" sz="1400" dirty="0" smtClean="0">
                            <a:solidFill>
                              <a:schemeClr val="tx1"/>
                            </a:solidFill>
                          </a:rPr>
                          <a:t> </a:t>
                        </a:r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Cliente</a:t>
                        </a:r>
                        <a:endParaRPr lang="en-US" sz="1400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2" name="Oval 11"/>
                      <p:cNvSpPr/>
                      <p:nvPr/>
                    </p:nvSpPr>
                    <p:spPr>
                      <a:xfrm>
                        <a:off x="2209800" y="2133600"/>
                        <a:ext cx="1600200" cy="685800"/>
                      </a:xfrm>
                      <a:prstGeom prst="ellipse">
                        <a:avLst/>
                      </a:prstGeom>
                      <a:solidFill>
                        <a:schemeClr val="bg1">
                          <a:lumMod val="75000"/>
                        </a:schemeClr>
                      </a:solidFill>
                      <a:ln w="3175"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Identificar</a:t>
                        </a:r>
                        <a:r>
                          <a:rPr lang="en-US" sz="1400" dirty="0" smtClean="0">
                            <a:solidFill>
                              <a:schemeClr val="tx1"/>
                            </a:solidFill>
                          </a:rPr>
                          <a:t> </a:t>
                        </a:r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Participante</a:t>
                        </a:r>
                        <a:endParaRPr lang="en-US" sz="1400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3" name="Oval 12"/>
                      <p:cNvSpPr/>
                      <p:nvPr/>
                    </p:nvSpPr>
                    <p:spPr>
                      <a:xfrm>
                        <a:off x="2209800" y="3281680"/>
                        <a:ext cx="1600200" cy="609600"/>
                      </a:xfrm>
                      <a:prstGeom prst="ellipse">
                        <a:avLst/>
                      </a:prstGeom>
                      <a:solidFill>
                        <a:schemeClr val="bg1">
                          <a:lumMod val="75000"/>
                        </a:schemeClr>
                      </a:solidFill>
                      <a:ln w="3175"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Reiniciar</a:t>
                        </a:r>
                        <a:r>
                          <a:rPr lang="en-US" sz="1400" dirty="0" smtClean="0">
                            <a:solidFill>
                              <a:schemeClr val="tx1"/>
                            </a:solidFill>
                          </a:rPr>
                          <a:t> </a:t>
                        </a:r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Partida</a:t>
                        </a:r>
                        <a:endParaRPr lang="en-US" sz="1400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4" name="Oval 13"/>
                      <p:cNvSpPr/>
                      <p:nvPr/>
                    </p:nvSpPr>
                    <p:spPr>
                      <a:xfrm>
                        <a:off x="2286000" y="5679440"/>
                        <a:ext cx="1600200" cy="609600"/>
                      </a:xfrm>
                      <a:prstGeom prst="ellipse">
                        <a:avLst/>
                      </a:prstGeom>
                      <a:solidFill>
                        <a:schemeClr val="bg1">
                          <a:lumMod val="75000"/>
                        </a:schemeClr>
                      </a:solidFill>
                      <a:ln w="3175"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Enviar</a:t>
                        </a:r>
                        <a:r>
                          <a:rPr lang="en-US" sz="1400" dirty="0" smtClean="0">
                            <a:solidFill>
                              <a:schemeClr val="tx1"/>
                            </a:solidFill>
                          </a:rPr>
                          <a:t> </a:t>
                        </a:r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Rótulo</a:t>
                        </a:r>
                        <a:endParaRPr lang="en-US" sz="1400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cxnSp>
                    <p:nvCxnSpPr>
                      <p:cNvPr id="18" name="Straight Arrow Connector 17"/>
                      <p:cNvCxnSpPr>
                        <a:stCxn id="15" idx="3"/>
                        <a:endCxn id="5" idx="2"/>
                      </p:cNvCxnSpPr>
                      <p:nvPr/>
                    </p:nvCxnSpPr>
                    <p:spPr>
                      <a:xfrm flipV="1">
                        <a:off x="1371600" y="1524001"/>
                        <a:ext cx="838200" cy="1904998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non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20" name="Straight Arrow Connector 19"/>
                      <p:cNvCxnSpPr>
                        <a:stCxn id="15" idx="3"/>
                        <a:endCxn id="12" idx="2"/>
                      </p:cNvCxnSpPr>
                      <p:nvPr/>
                    </p:nvCxnSpPr>
                    <p:spPr>
                      <a:xfrm flipV="1">
                        <a:off x="1371600" y="2476499"/>
                        <a:ext cx="838200" cy="952500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non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22" name="Straight Arrow Connector 21"/>
                      <p:cNvCxnSpPr>
                        <a:stCxn id="15" idx="3"/>
                        <a:endCxn id="13" idx="2"/>
                      </p:cNvCxnSpPr>
                      <p:nvPr/>
                    </p:nvCxnSpPr>
                    <p:spPr>
                      <a:xfrm>
                        <a:off x="1371600" y="3429000"/>
                        <a:ext cx="838200" cy="157481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non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sp>
                    <p:nvSpPr>
                      <p:cNvPr id="23" name="Oval 22"/>
                      <p:cNvSpPr/>
                      <p:nvPr/>
                    </p:nvSpPr>
                    <p:spPr>
                      <a:xfrm>
                        <a:off x="2209800" y="4338320"/>
                        <a:ext cx="1600200" cy="609600"/>
                      </a:xfrm>
                      <a:prstGeom prst="ellipse">
                        <a:avLst/>
                      </a:prstGeom>
                      <a:solidFill>
                        <a:schemeClr val="bg1">
                          <a:lumMod val="75000"/>
                        </a:schemeClr>
                      </a:solidFill>
                      <a:ln w="3175"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Encerrar</a:t>
                        </a:r>
                        <a:r>
                          <a:rPr lang="en-US" sz="1400" dirty="0" smtClean="0">
                            <a:solidFill>
                              <a:schemeClr val="tx1"/>
                            </a:solidFill>
                          </a:rPr>
                          <a:t> </a:t>
                        </a:r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Cliente</a:t>
                        </a:r>
                        <a:endParaRPr lang="en-US" sz="1400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cxnSp>
                    <p:nvCxnSpPr>
                      <p:cNvPr id="28" name="Straight Connector 27"/>
                      <p:cNvCxnSpPr>
                        <a:stCxn id="14" idx="2"/>
                        <a:endCxn id="15" idx="3"/>
                      </p:cNvCxnSpPr>
                      <p:nvPr/>
                    </p:nvCxnSpPr>
                    <p:spPr>
                      <a:xfrm rot="10800000">
                        <a:off x="1371600" y="3429000"/>
                        <a:ext cx="914400" cy="2555240"/>
                      </a:xfrm>
                      <a:prstGeom prst="line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30" name="Straight Connector 29"/>
                      <p:cNvCxnSpPr>
                        <a:stCxn id="23" idx="2"/>
                        <a:endCxn id="15" idx="3"/>
                      </p:cNvCxnSpPr>
                      <p:nvPr/>
                    </p:nvCxnSpPr>
                    <p:spPr>
                      <a:xfrm rot="10800000">
                        <a:off x="1371600" y="3429000"/>
                        <a:ext cx="838200" cy="1214120"/>
                      </a:xfrm>
                      <a:prstGeom prst="line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sp>
                    <p:nvSpPr>
                      <p:cNvPr id="36" name="Oval 35"/>
                      <p:cNvSpPr/>
                      <p:nvPr/>
                    </p:nvSpPr>
                    <p:spPr>
                      <a:xfrm>
                        <a:off x="4572000" y="6797040"/>
                        <a:ext cx="1600200" cy="690880"/>
                      </a:xfrm>
                      <a:prstGeom prst="ellipse">
                        <a:avLst/>
                      </a:prstGeom>
                      <a:solidFill>
                        <a:schemeClr val="bg1">
                          <a:lumMod val="75000"/>
                        </a:schemeClr>
                      </a:solidFill>
                      <a:ln w="3175"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Encerrar</a:t>
                        </a:r>
                        <a:r>
                          <a:rPr lang="en-US" sz="1400" dirty="0" smtClean="0">
                            <a:solidFill>
                              <a:schemeClr val="tx1"/>
                            </a:solidFill>
                          </a:rPr>
                          <a:t> </a:t>
                        </a:r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partida</a:t>
                        </a:r>
                        <a:endParaRPr lang="en-US" sz="1400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37" name="Oval 36"/>
                      <p:cNvSpPr/>
                      <p:nvPr/>
                    </p:nvSpPr>
                    <p:spPr>
                      <a:xfrm>
                        <a:off x="2895600" y="7467600"/>
                        <a:ext cx="1600200" cy="609600"/>
                      </a:xfrm>
                      <a:prstGeom prst="ellipse">
                        <a:avLst/>
                      </a:prstGeom>
                      <a:solidFill>
                        <a:schemeClr val="bg1">
                          <a:lumMod val="75000"/>
                        </a:schemeClr>
                      </a:solidFill>
                      <a:ln w="3175"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Iniciar</a:t>
                        </a:r>
                        <a:r>
                          <a:rPr lang="en-US" sz="1400" dirty="0" smtClean="0">
                            <a:solidFill>
                              <a:schemeClr val="tx1"/>
                            </a:solidFill>
                          </a:rPr>
                          <a:t> </a:t>
                        </a:r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Partida</a:t>
                        </a:r>
                        <a:endParaRPr lang="en-US" sz="1400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grpSp>
                    <p:nvGrpSpPr>
                      <p:cNvPr id="41" name="Group 40"/>
                      <p:cNvGrpSpPr/>
                      <p:nvPr/>
                    </p:nvGrpSpPr>
                    <p:grpSpPr>
                      <a:xfrm>
                        <a:off x="304800" y="3048000"/>
                        <a:ext cx="1295400" cy="940630"/>
                        <a:chOff x="304800" y="3048000"/>
                        <a:chExt cx="1295400" cy="940630"/>
                      </a:xfrm>
                    </p:grpSpPr>
                    <p:grpSp>
                      <p:nvGrpSpPr>
                        <p:cNvPr id="16" name="Group 15"/>
                        <p:cNvGrpSpPr/>
                        <p:nvPr/>
                      </p:nvGrpSpPr>
                      <p:grpSpPr>
                        <a:xfrm>
                          <a:off x="609600" y="3048000"/>
                          <a:ext cx="762000" cy="762000"/>
                          <a:chOff x="609600" y="3048000"/>
                          <a:chExt cx="762000" cy="762000"/>
                        </a:xfrm>
                      </p:grpSpPr>
                      <p:pic>
                        <p:nvPicPr>
                          <p:cNvPr id="1026" name="Picture 2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3" cstate="print"/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609600" y="3048000"/>
                            <a:ext cx="571500" cy="639763"/>
                          </a:xfrm>
                          <a:prstGeom prst="rect">
                            <a:avLst/>
                          </a:prstGeom>
                          <a:noFill/>
                          <a:ln w="9525">
                            <a:noFill/>
                            <a:miter lim="800000"/>
                            <a:headEnd/>
                            <a:tailEnd/>
                          </a:ln>
                          <a:effectLst/>
                        </p:spPr>
                      </p:pic>
                      <p:sp>
                        <p:nvSpPr>
                          <p:cNvPr id="15" name="Rectangle 14"/>
                          <p:cNvSpPr/>
                          <p:nvPr/>
                        </p:nvSpPr>
                        <p:spPr>
                          <a:xfrm>
                            <a:off x="609600" y="3048000"/>
                            <a:ext cx="762000" cy="762000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/>
                          </a:p>
                        </p:txBody>
                      </p:sp>
                    </p:grpSp>
                    <p:sp>
                      <p:nvSpPr>
                        <p:cNvPr id="40" name="TextBox 39"/>
                        <p:cNvSpPr txBox="1"/>
                        <p:nvPr/>
                      </p:nvSpPr>
                      <p:spPr>
                        <a:xfrm>
                          <a:off x="304800" y="3657600"/>
                          <a:ext cx="1295400" cy="331030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square" rtlCol="0">
                          <a:spAutoFit/>
                        </a:bodyPr>
                        <a:lstStyle/>
                        <a:p>
                          <a:pPr algn="ctr"/>
                          <a:r>
                            <a:rPr lang="en-US" sz="1600" b="1" dirty="0" err="1" smtClean="0"/>
                            <a:t>Participante</a:t>
                          </a:r>
                          <a:endParaRPr lang="en-US" sz="1600" b="1" dirty="0"/>
                        </a:p>
                      </p:txBody>
                    </p:sp>
                  </p:grpSp>
                  <p:grpSp>
                    <p:nvGrpSpPr>
                      <p:cNvPr id="42" name="Group 41"/>
                      <p:cNvGrpSpPr/>
                      <p:nvPr/>
                    </p:nvGrpSpPr>
                    <p:grpSpPr>
                      <a:xfrm>
                        <a:off x="7391400" y="5562600"/>
                        <a:ext cx="914400" cy="2950364"/>
                        <a:chOff x="533400" y="3048000"/>
                        <a:chExt cx="914400" cy="2950364"/>
                      </a:xfrm>
                    </p:grpSpPr>
                    <p:grpSp>
                      <p:nvGrpSpPr>
                        <p:cNvPr id="43" name="Group 15"/>
                        <p:cNvGrpSpPr/>
                        <p:nvPr/>
                      </p:nvGrpSpPr>
                      <p:grpSpPr>
                        <a:xfrm>
                          <a:off x="609600" y="3048000"/>
                          <a:ext cx="647700" cy="2395750"/>
                          <a:chOff x="609600" y="3048000"/>
                          <a:chExt cx="647700" cy="2395750"/>
                        </a:xfrm>
                      </p:grpSpPr>
                      <p:pic>
                        <p:nvPicPr>
                          <p:cNvPr id="45" name="Picture 2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3" cstate="print"/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685800" y="4803987"/>
                            <a:ext cx="571500" cy="639763"/>
                          </a:xfrm>
                          <a:prstGeom prst="rect">
                            <a:avLst/>
                          </a:prstGeom>
                          <a:noFill/>
                          <a:ln w="9525">
                            <a:noFill/>
                            <a:miter lim="800000"/>
                            <a:headEnd/>
                            <a:tailEnd/>
                          </a:ln>
                          <a:effectLst/>
                        </p:spPr>
                      </p:pic>
                      <p:sp>
                        <p:nvSpPr>
                          <p:cNvPr id="46" name="Rectangle 45"/>
                          <p:cNvSpPr/>
                          <p:nvPr/>
                        </p:nvSpPr>
                        <p:spPr>
                          <a:xfrm>
                            <a:off x="609600" y="3048000"/>
                            <a:ext cx="609600" cy="762000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/>
                          </a:p>
                        </p:txBody>
                      </p:sp>
                    </p:grpSp>
                    <p:sp>
                      <p:nvSpPr>
                        <p:cNvPr id="44" name="TextBox 43"/>
                        <p:cNvSpPr txBox="1"/>
                        <p:nvPr/>
                      </p:nvSpPr>
                      <p:spPr>
                        <a:xfrm>
                          <a:off x="533400" y="5413589"/>
                          <a:ext cx="914400" cy="584775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square" rtlCol="0">
                          <a:spAutoFit/>
                        </a:bodyPr>
                        <a:lstStyle/>
                        <a:p>
                          <a:pPr algn="ctr"/>
                          <a:r>
                            <a:rPr lang="en-US" sz="1600" b="1" dirty="0" smtClean="0"/>
                            <a:t>VF2 - </a:t>
                          </a:r>
                          <a:r>
                            <a:rPr lang="en-US" sz="1600" b="1" dirty="0" err="1" smtClean="0"/>
                            <a:t>Servidor</a:t>
                          </a:r>
                          <a:endParaRPr lang="en-US" sz="1600" b="1" dirty="0"/>
                        </a:p>
                      </p:txBody>
                    </p:sp>
                  </p:grpSp>
                  <p:cxnSp>
                    <p:nvCxnSpPr>
                      <p:cNvPr id="47" name="Straight Arrow Connector 46"/>
                      <p:cNvCxnSpPr>
                        <a:stCxn id="45" idx="1"/>
                        <a:endCxn id="36" idx="6"/>
                      </p:cNvCxnSpPr>
                      <p:nvPr/>
                    </p:nvCxnSpPr>
                    <p:spPr>
                      <a:xfrm rot="10800000">
                        <a:off x="6172200" y="7142480"/>
                        <a:ext cx="1371600" cy="495990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non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52" name="Straight Arrow Connector 51"/>
                      <p:cNvCxnSpPr>
                        <a:stCxn id="45" idx="1"/>
                        <a:endCxn id="37" idx="6"/>
                      </p:cNvCxnSpPr>
                      <p:nvPr/>
                    </p:nvCxnSpPr>
                    <p:spPr>
                      <a:xfrm rot="10800000" flipV="1">
                        <a:off x="4495800" y="7638469"/>
                        <a:ext cx="3048000" cy="133931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non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53" name="Straight Arrow Connector 52"/>
                      <p:cNvCxnSpPr>
                        <a:stCxn id="45" idx="1"/>
                        <a:endCxn id="54" idx="6"/>
                      </p:cNvCxnSpPr>
                      <p:nvPr/>
                    </p:nvCxnSpPr>
                    <p:spPr>
                      <a:xfrm rot="10800000" flipV="1">
                        <a:off x="4800600" y="7638469"/>
                        <a:ext cx="2743200" cy="953504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non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sp>
                    <p:nvSpPr>
                      <p:cNvPr id="54" name="Oval 36"/>
                      <p:cNvSpPr/>
                      <p:nvPr/>
                    </p:nvSpPr>
                    <p:spPr>
                      <a:xfrm>
                        <a:off x="3200400" y="8287173"/>
                        <a:ext cx="1600200" cy="609600"/>
                      </a:xfrm>
                      <a:prstGeom prst="ellipse">
                        <a:avLst/>
                      </a:prstGeom>
                      <a:solidFill>
                        <a:schemeClr val="bg1">
                          <a:lumMod val="75000"/>
                        </a:schemeClr>
                      </a:solidFill>
                      <a:ln w="3175"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Notificar</a:t>
                        </a:r>
                        <a:r>
                          <a:rPr lang="en-US" sz="1400" dirty="0" smtClean="0">
                            <a:solidFill>
                              <a:schemeClr val="tx1"/>
                            </a:solidFill>
                          </a:rPr>
                          <a:t> </a:t>
                        </a:r>
                        <a:r>
                          <a:rPr lang="en-US" sz="1400" i="1" dirty="0" smtClean="0">
                            <a:solidFill>
                              <a:schemeClr val="tx1"/>
                            </a:solidFill>
                          </a:rPr>
                          <a:t>Match</a:t>
                        </a:r>
                        <a:endParaRPr lang="en-US" sz="1400" i="1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sp>
                  <p:nvSpPr>
                    <p:cNvPr id="57" name="Oval 4"/>
                    <p:cNvSpPr/>
                    <p:nvPr/>
                  </p:nvSpPr>
                  <p:spPr>
                    <a:xfrm>
                      <a:off x="5181600" y="914400"/>
                      <a:ext cx="1752600" cy="990600"/>
                    </a:xfrm>
                    <a:prstGeom prst="ellipse">
                      <a:avLst/>
                    </a:prstGeom>
                    <a:solidFill>
                      <a:schemeClr val="bg1">
                        <a:lumMod val="95000"/>
                      </a:schemeClr>
                    </a:solidFill>
                    <a:ln w="317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sz="1400" dirty="0" err="1" smtClean="0">
                          <a:solidFill>
                            <a:schemeClr val="tx1"/>
                          </a:solidFill>
                        </a:rPr>
                        <a:t>Falha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</a:rPr>
                        <a:t>na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</a:rPr>
                        <a:t>Conexão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 com 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</a:rPr>
                        <a:t>Servidor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p:txBody>
                </p:sp>
                <p:cxnSp>
                  <p:nvCxnSpPr>
                    <p:cNvPr id="65" name="Conector de seta reta 64"/>
                    <p:cNvCxnSpPr>
                      <a:stCxn id="57" idx="1"/>
                      <a:endCxn id="5" idx="6"/>
                    </p:cNvCxnSpPr>
                    <p:nvPr/>
                  </p:nvCxnSpPr>
                  <p:spPr>
                    <a:xfrm rot="16200000" flipH="1" flipV="1">
                      <a:off x="4383207" y="486262"/>
                      <a:ext cx="481849" cy="1628263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prstDash val="dash"/>
                      <a:tailEnd type="arrow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66" name="Conector de seta reta 65"/>
                    <p:cNvCxnSpPr>
                      <a:stCxn id="57" idx="2"/>
                      <a:endCxn id="12" idx="6"/>
                    </p:cNvCxnSpPr>
                    <p:nvPr/>
                  </p:nvCxnSpPr>
                  <p:spPr>
                    <a:xfrm rot="10800000" flipV="1">
                      <a:off x="3810000" y="1409700"/>
                      <a:ext cx="1371600" cy="1105766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prstDash val="dash"/>
                      <a:tailEnd type="arrow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79" name="CaixaDeTexto 78"/>
                    <p:cNvSpPr txBox="1"/>
                    <p:nvPr/>
                  </p:nvSpPr>
                  <p:spPr>
                    <a:xfrm rot="20607714">
                      <a:off x="3826662" y="975543"/>
                      <a:ext cx="1524000" cy="33855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pt-BR" sz="1600" dirty="0" smtClean="0"/>
                        <a:t>&lt;&lt;</a:t>
                      </a:r>
                      <a:r>
                        <a:rPr lang="pt-BR" sz="1600" dirty="0" err="1" smtClean="0"/>
                        <a:t>extends</a:t>
                      </a:r>
                      <a:r>
                        <a:rPr lang="pt-BR" sz="1600" dirty="0" smtClean="0"/>
                        <a:t>&gt;&gt;</a:t>
                      </a:r>
                      <a:endParaRPr lang="pt-BR" sz="1600" dirty="0"/>
                    </a:p>
                  </p:txBody>
                </p:sp>
                <p:sp>
                  <p:nvSpPr>
                    <p:cNvPr id="80" name="CaixaDeTexto 79"/>
                    <p:cNvSpPr txBox="1"/>
                    <p:nvPr/>
                  </p:nvSpPr>
                  <p:spPr>
                    <a:xfrm rot="19326698">
                      <a:off x="3733077" y="1651482"/>
                      <a:ext cx="1524000" cy="33855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pt-BR" sz="1600" dirty="0" smtClean="0"/>
                        <a:t>&lt;&lt;</a:t>
                      </a:r>
                      <a:r>
                        <a:rPr lang="pt-BR" sz="1600" dirty="0" err="1" smtClean="0"/>
                        <a:t>extends</a:t>
                      </a:r>
                      <a:r>
                        <a:rPr lang="pt-BR" sz="1600" dirty="0" smtClean="0"/>
                        <a:t>&gt;&gt;</a:t>
                      </a:r>
                      <a:endParaRPr lang="pt-BR" sz="1600" dirty="0"/>
                    </a:p>
                  </p:txBody>
                </p:sp>
                <p:sp>
                  <p:nvSpPr>
                    <p:cNvPr id="86" name="Oval 4"/>
                    <p:cNvSpPr/>
                    <p:nvPr/>
                  </p:nvSpPr>
                  <p:spPr>
                    <a:xfrm>
                      <a:off x="5410200" y="3505200"/>
                      <a:ext cx="1524000" cy="685800"/>
                    </a:xfrm>
                    <a:prstGeom prst="ellipse">
                      <a:avLst/>
                    </a:prstGeom>
                    <a:solidFill>
                      <a:schemeClr val="bg1">
                        <a:lumMod val="95000"/>
                      </a:schemeClr>
                    </a:solidFill>
                    <a:ln w="317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sz="1400" dirty="0" err="1" smtClean="0">
                          <a:solidFill>
                            <a:schemeClr val="tx1"/>
                          </a:solidFill>
                        </a:rPr>
                        <a:t>Aguardar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</a:rPr>
                        <a:t>Início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p:txBody>
                </p:sp>
                <p:cxnSp>
                  <p:nvCxnSpPr>
                    <p:cNvPr id="87" name="Conector de seta reta 86"/>
                    <p:cNvCxnSpPr>
                      <a:stCxn id="12" idx="6"/>
                      <a:endCxn id="86" idx="1"/>
                    </p:cNvCxnSpPr>
                    <p:nvPr/>
                  </p:nvCxnSpPr>
                  <p:spPr>
                    <a:xfrm>
                      <a:off x="3810000" y="2515466"/>
                      <a:ext cx="1823385" cy="1090167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prstDash val="dash"/>
                      <a:tailEnd type="arrow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1" name="Conector de seta reta 90"/>
                    <p:cNvCxnSpPr>
                      <a:stCxn id="13" idx="6"/>
                      <a:endCxn id="86" idx="2"/>
                    </p:cNvCxnSpPr>
                    <p:nvPr/>
                  </p:nvCxnSpPr>
                  <p:spPr>
                    <a:xfrm>
                      <a:off x="3810000" y="3650673"/>
                      <a:ext cx="1600200" cy="197427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prstDash val="dash"/>
                      <a:tailEnd type="arrow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96" name="CaixaDeTexto 95"/>
                    <p:cNvSpPr txBox="1"/>
                    <p:nvPr/>
                  </p:nvSpPr>
                  <p:spPr>
                    <a:xfrm rot="1839561">
                      <a:off x="3866004" y="3030339"/>
                      <a:ext cx="1524000" cy="33855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pt-BR" sz="1600" dirty="0" smtClean="0"/>
                        <a:t>&lt;&lt;includes&gt;&gt;</a:t>
                      </a:r>
                      <a:endParaRPr lang="pt-BR" sz="1600" dirty="0"/>
                    </a:p>
                  </p:txBody>
                </p:sp>
                <p:sp>
                  <p:nvSpPr>
                    <p:cNvPr id="99" name="CaixaDeTexto 98"/>
                    <p:cNvSpPr txBox="1"/>
                    <p:nvPr/>
                  </p:nvSpPr>
                  <p:spPr>
                    <a:xfrm rot="363802">
                      <a:off x="3744459" y="3660942"/>
                      <a:ext cx="1524000" cy="33855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pt-BR" sz="1600" dirty="0" smtClean="0"/>
                        <a:t>&lt;&lt;includes&gt;&gt;</a:t>
                      </a:r>
                      <a:endParaRPr lang="pt-BR" sz="1600" dirty="0"/>
                    </a:p>
                  </p:txBody>
                </p:sp>
              </p:grpSp>
              <p:sp>
                <p:nvSpPr>
                  <p:cNvPr id="124" name="Oval 4"/>
                  <p:cNvSpPr/>
                  <p:nvPr/>
                </p:nvSpPr>
                <p:spPr>
                  <a:xfrm>
                    <a:off x="5181600" y="2209800"/>
                    <a:ext cx="1752600" cy="990600"/>
                  </a:xfrm>
                  <a:prstGeom prst="ellipse">
                    <a:avLst/>
                  </a:prstGeom>
                  <a:solidFill>
                    <a:schemeClr val="bg1">
                      <a:lumMod val="95000"/>
                    </a:schemeClr>
                  </a:solidFill>
                  <a:ln w="31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err="1" smtClean="0">
                        <a:solidFill>
                          <a:schemeClr val="tx1"/>
                        </a:solidFill>
                      </a:rPr>
                      <a:t>Identificado</a:t>
                    </a:r>
                    <a:r>
                      <a:rPr lang="en-US" sz="1400" dirty="0" smtClean="0">
                        <a:solidFill>
                          <a:schemeClr val="tx1"/>
                        </a:solidFill>
                      </a:rPr>
                      <a:t> </a:t>
                    </a:r>
                    <a:r>
                      <a:rPr lang="en-US" sz="1400" dirty="0" err="1" smtClean="0">
                        <a:solidFill>
                          <a:schemeClr val="tx1"/>
                        </a:solidFill>
                      </a:rPr>
                      <a:t>como</a:t>
                    </a:r>
                    <a:r>
                      <a:rPr lang="en-US" sz="1400" dirty="0" smtClean="0">
                        <a:solidFill>
                          <a:schemeClr val="tx1"/>
                        </a:solidFill>
                      </a:rPr>
                      <a:t> </a:t>
                    </a:r>
                    <a:r>
                      <a:rPr lang="en-US" sz="1400" dirty="0" err="1" smtClean="0">
                        <a:solidFill>
                          <a:schemeClr val="tx1"/>
                        </a:solidFill>
                      </a:rPr>
                      <a:t>Terceiro</a:t>
                    </a:r>
                    <a:r>
                      <a:rPr lang="en-US" sz="1400" dirty="0" smtClean="0">
                        <a:solidFill>
                          <a:schemeClr val="tx1"/>
                        </a:solidFill>
                      </a:rPr>
                      <a:t> </a:t>
                    </a:r>
                    <a:r>
                      <a:rPr lang="en-US" sz="1400" dirty="0" err="1" smtClean="0">
                        <a:solidFill>
                          <a:schemeClr val="tx1"/>
                        </a:solidFill>
                      </a:rPr>
                      <a:t>Participante</a:t>
                    </a: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  <p:cxnSp>
                <p:nvCxnSpPr>
                  <p:cNvPr id="129" name="Conector de seta reta 128"/>
                  <p:cNvCxnSpPr>
                    <a:stCxn id="124" idx="1"/>
                    <a:endCxn id="12" idx="6"/>
                  </p:cNvCxnSpPr>
                  <p:nvPr/>
                </p:nvCxnSpPr>
                <p:spPr>
                  <a:xfrm rot="16200000" flipH="1" flipV="1">
                    <a:off x="4543834" y="1621036"/>
                    <a:ext cx="160596" cy="1628263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prstDash val="dash"/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30" name="CaixaDeTexto 129"/>
                  <p:cNvSpPr txBox="1"/>
                  <p:nvPr/>
                </p:nvSpPr>
                <p:spPr>
                  <a:xfrm rot="21295424">
                    <a:off x="4191000" y="2109286"/>
                    <a:ext cx="1524000" cy="33855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pt-BR" sz="1600" dirty="0" smtClean="0"/>
                      <a:t>&lt;&lt;</a:t>
                    </a:r>
                    <a:r>
                      <a:rPr lang="pt-BR" sz="1600" dirty="0" err="1" smtClean="0"/>
                      <a:t>extends</a:t>
                    </a:r>
                    <a:r>
                      <a:rPr lang="pt-BR" sz="1600" dirty="0" smtClean="0"/>
                      <a:t>&gt;&gt;</a:t>
                    </a:r>
                    <a:endParaRPr lang="pt-BR" sz="1600" dirty="0"/>
                  </a:p>
                </p:txBody>
              </p:sp>
              <p:sp>
                <p:nvSpPr>
                  <p:cNvPr id="140" name="Oval 4"/>
                  <p:cNvSpPr/>
                  <p:nvPr/>
                </p:nvSpPr>
                <p:spPr>
                  <a:xfrm>
                    <a:off x="5181600" y="4876800"/>
                    <a:ext cx="1828800" cy="914400"/>
                  </a:xfrm>
                  <a:prstGeom prst="ellipse">
                    <a:avLst/>
                  </a:prstGeom>
                  <a:solidFill>
                    <a:schemeClr val="bg1">
                      <a:lumMod val="95000"/>
                    </a:schemeClr>
                  </a:solidFill>
                  <a:ln w="31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err="1" smtClean="0">
                        <a:solidFill>
                          <a:schemeClr val="tx1"/>
                        </a:solidFill>
                      </a:rPr>
                      <a:t>Identificado</a:t>
                    </a:r>
                    <a:r>
                      <a:rPr lang="en-US" sz="1400" dirty="0" smtClean="0">
                        <a:solidFill>
                          <a:schemeClr val="tx1"/>
                        </a:solidFill>
                      </a:rPr>
                      <a:t> </a:t>
                    </a:r>
                    <a:r>
                      <a:rPr lang="en-US" sz="1400" dirty="0" err="1" smtClean="0">
                        <a:solidFill>
                          <a:schemeClr val="tx1"/>
                        </a:solidFill>
                      </a:rPr>
                      <a:t>como</a:t>
                    </a:r>
                    <a:r>
                      <a:rPr lang="en-US" sz="1400" dirty="0" smtClean="0">
                        <a:solidFill>
                          <a:schemeClr val="tx1"/>
                        </a:solidFill>
                      </a:rPr>
                      <a:t> Segundo </a:t>
                    </a:r>
                    <a:r>
                      <a:rPr lang="en-US" sz="1400" dirty="0" err="1" smtClean="0">
                        <a:solidFill>
                          <a:schemeClr val="tx1"/>
                        </a:solidFill>
                      </a:rPr>
                      <a:t>Participante</a:t>
                    </a: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  <p:cxnSp>
                <p:nvCxnSpPr>
                  <p:cNvPr id="141" name="Conector de seta reta 140"/>
                  <p:cNvCxnSpPr>
                    <a:stCxn id="140" idx="0"/>
                    <a:endCxn id="86" idx="4"/>
                  </p:cNvCxnSpPr>
                  <p:nvPr/>
                </p:nvCxnSpPr>
                <p:spPr>
                  <a:xfrm rot="5400000" flipH="1" flipV="1">
                    <a:off x="5791200" y="4495800"/>
                    <a:ext cx="685800" cy="76200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prstDash val="dash"/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42" name="CaixaDeTexto 141"/>
                  <p:cNvSpPr txBox="1"/>
                  <p:nvPr/>
                </p:nvSpPr>
                <p:spPr>
                  <a:xfrm>
                    <a:off x="5257800" y="4419600"/>
                    <a:ext cx="1524000" cy="338554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pt-BR" sz="1600" dirty="0" smtClean="0"/>
                      <a:t>&lt;&lt;</a:t>
                    </a:r>
                    <a:r>
                      <a:rPr lang="pt-BR" sz="1600" dirty="0" err="1" smtClean="0"/>
                      <a:t>extends</a:t>
                    </a:r>
                    <a:r>
                      <a:rPr lang="pt-BR" sz="1600" dirty="0" smtClean="0"/>
                      <a:t>&gt;&gt;</a:t>
                    </a:r>
                    <a:endParaRPr lang="pt-BR" sz="1600" dirty="0"/>
                  </a:p>
                </p:txBody>
              </p:sp>
            </p:grpSp>
            <p:sp>
              <p:nvSpPr>
                <p:cNvPr id="155" name="Oval 22"/>
                <p:cNvSpPr/>
                <p:nvPr/>
              </p:nvSpPr>
              <p:spPr>
                <a:xfrm>
                  <a:off x="2743200" y="1752600"/>
                  <a:ext cx="1600200" cy="623455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400" dirty="0" err="1" smtClean="0">
                      <a:solidFill>
                        <a:schemeClr val="tx1"/>
                      </a:solidFill>
                    </a:rPr>
                    <a:t>Desistir</a:t>
                  </a:r>
                  <a:r>
                    <a:rPr lang="en-US" sz="1400" dirty="0" smtClean="0">
                      <a:solidFill>
                        <a:schemeClr val="tx1"/>
                      </a:solidFill>
                    </a:rPr>
                    <a:t> </a:t>
                  </a:r>
                  <a:r>
                    <a:rPr lang="en-US" sz="1400" dirty="0" err="1" smtClean="0">
                      <a:solidFill>
                        <a:schemeClr val="tx1"/>
                      </a:solidFill>
                    </a:rPr>
                    <a:t>da</a:t>
                  </a:r>
                  <a:r>
                    <a:rPr lang="en-US" sz="1400" dirty="0" smtClean="0">
                      <a:solidFill>
                        <a:schemeClr val="tx1"/>
                      </a:solidFill>
                    </a:rPr>
                    <a:t> </a:t>
                  </a:r>
                  <a:r>
                    <a:rPr lang="en-US" sz="1400" dirty="0" err="1" smtClean="0">
                      <a:solidFill>
                        <a:schemeClr val="tx1"/>
                      </a:solidFill>
                    </a:rPr>
                    <a:t>Partida</a:t>
                  </a: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56" name="Straight Connector 29"/>
                <p:cNvCxnSpPr>
                  <a:stCxn id="155" idx="2"/>
                  <a:endCxn id="15" idx="3"/>
                </p:cNvCxnSpPr>
                <p:nvPr/>
              </p:nvCxnSpPr>
              <p:spPr>
                <a:xfrm rot="10800000" flipV="1">
                  <a:off x="1828800" y="2064327"/>
                  <a:ext cx="914400" cy="3025485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2" name="CaixaDeTexto 161"/>
                <p:cNvSpPr txBox="1"/>
                <p:nvPr/>
              </p:nvSpPr>
              <p:spPr>
                <a:xfrm rot="907034">
                  <a:off x="4426641" y="1906978"/>
                  <a:ext cx="1524000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pt-BR" sz="1600" dirty="0" smtClean="0"/>
                    <a:t>&lt;&lt;</a:t>
                  </a:r>
                  <a:r>
                    <a:rPr lang="pt-BR" sz="1600" dirty="0" err="1" smtClean="0"/>
                    <a:t>extends</a:t>
                  </a:r>
                  <a:r>
                    <a:rPr lang="pt-BR" sz="1600" dirty="0" smtClean="0"/>
                    <a:t>&gt;&gt;</a:t>
                  </a:r>
                  <a:endParaRPr lang="pt-BR" sz="1600" dirty="0"/>
                </a:p>
              </p:txBody>
            </p:sp>
            <p:cxnSp>
              <p:nvCxnSpPr>
                <p:cNvPr id="163" name="Conector de seta reta 162"/>
                <p:cNvCxnSpPr>
                  <a:stCxn id="57" idx="0"/>
                  <a:endCxn id="155" idx="6"/>
                </p:cNvCxnSpPr>
                <p:nvPr/>
              </p:nvCxnSpPr>
              <p:spPr>
                <a:xfrm rot="16200000" flipV="1">
                  <a:off x="5204114" y="1203614"/>
                  <a:ext cx="450272" cy="217170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prstDash val="dash"/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6" name="Oval 36"/>
                <p:cNvSpPr/>
                <p:nvPr/>
              </p:nvSpPr>
              <p:spPr>
                <a:xfrm>
                  <a:off x="5638800" y="10363200"/>
                  <a:ext cx="1600200" cy="623455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400" dirty="0" err="1" smtClean="0">
                      <a:solidFill>
                        <a:schemeClr val="tx1"/>
                      </a:solidFill>
                    </a:rPr>
                    <a:t>Notificar</a:t>
                  </a:r>
                  <a:r>
                    <a:rPr lang="en-US" sz="1400" dirty="0" smtClean="0">
                      <a:solidFill>
                        <a:schemeClr val="tx1"/>
                      </a:solidFill>
                    </a:rPr>
                    <a:t> </a:t>
                  </a:r>
                  <a:r>
                    <a:rPr lang="en-US" sz="1400" dirty="0" err="1" smtClean="0">
                      <a:solidFill>
                        <a:schemeClr val="tx1"/>
                      </a:solidFill>
                    </a:rPr>
                    <a:t>Desistência</a:t>
                  </a: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67" name="Straight Arrow Connector 52"/>
                <p:cNvCxnSpPr>
                  <a:stCxn id="45" idx="1"/>
                  <a:endCxn id="166" idx="6"/>
                </p:cNvCxnSpPr>
                <p:nvPr/>
              </p:nvCxnSpPr>
              <p:spPr>
                <a:xfrm rot="10800000" flipV="1">
                  <a:off x="7239000" y="9394952"/>
                  <a:ext cx="762000" cy="1279975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8" name="Oval 22"/>
              <p:cNvSpPr/>
              <p:nvPr/>
            </p:nvSpPr>
            <p:spPr>
              <a:xfrm>
                <a:off x="2514600" y="1981200"/>
                <a:ext cx="1600200" cy="623455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 err="1" smtClean="0">
                    <a:solidFill>
                      <a:schemeClr val="tx1"/>
                    </a:solidFill>
                  </a:rPr>
                  <a:t>Cancelar</a:t>
                </a:r>
                <a:r>
                  <a:rPr lang="en-US" sz="1400" dirty="0" smtClean="0">
                    <a:solidFill>
                      <a:schemeClr val="tx1"/>
                    </a:solidFill>
                  </a:rPr>
                  <a:t> </a:t>
                </a:r>
                <a:r>
                  <a:rPr lang="en-US" sz="1400" dirty="0" err="1" smtClean="0">
                    <a:solidFill>
                      <a:schemeClr val="tx1"/>
                    </a:solidFill>
                  </a:rPr>
                  <a:t>Espera</a:t>
                </a: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9" name="Straight Connector 29"/>
              <p:cNvCxnSpPr>
                <a:stCxn id="58" idx="2"/>
                <a:endCxn id="15" idx="3"/>
              </p:cNvCxnSpPr>
              <p:nvPr/>
            </p:nvCxnSpPr>
            <p:spPr>
              <a:xfrm rot="10800000" flipV="1">
                <a:off x="1676400" y="2292928"/>
                <a:ext cx="838200" cy="4092286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CaixaDeTexto 74"/>
              <p:cNvSpPr txBox="1"/>
              <p:nvPr/>
            </p:nvSpPr>
            <p:spPr>
              <a:xfrm rot="2117246">
                <a:off x="4569024" y="2695089"/>
                <a:ext cx="152400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600" dirty="0" smtClean="0"/>
                  <a:t>&lt;&lt;</a:t>
                </a:r>
                <a:r>
                  <a:rPr lang="pt-BR" sz="1600" dirty="0" err="1" smtClean="0"/>
                  <a:t>extends</a:t>
                </a:r>
                <a:r>
                  <a:rPr lang="pt-BR" sz="1600" dirty="0" smtClean="0"/>
                  <a:t>&gt;&gt;</a:t>
                </a:r>
                <a:endParaRPr lang="pt-BR" sz="1600" dirty="0"/>
              </a:p>
            </p:txBody>
          </p:sp>
          <p:cxnSp>
            <p:nvCxnSpPr>
              <p:cNvPr id="76" name="Conector de seta reta 75"/>
              <p:cNvCxnSpPr>
                <a:stCxn id="57" idx="0"/>
                <a:endCxn id="58" idx="6"/>
              </p:cNvCxnSpPr>
              <p:nvPr/>
            </p:nvCxnSpPr>
            <p:spPr>
              <a:xfrm rot="16200000" flipV="1">
                <a:off x="4480214" y="1927514"/>
                <a:ext cx="1517072" cy="224790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prstDash val="dash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9" name="Oval 4"/>
            <p:cNvSpPr/>
            <p:nvPr/>
          </p:nvSpPr>
          <p:spPr>
            <a:xfrm>
              <a:off x="5562600" y="8839200"/>
              <a:ext cx="1524000" cy="6858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err="1" smtClean="0">
                  <a:solidFill>
                    <a:schemeClr val="tx1"/>
                  </a:solidFill>
                </a:rPr>
                <a:t>Rótulo</a:t>
              </a:r>
              <a:r>
                <a:rPr lang="en-US" sz="1400" dirty="0" smtClean="0">
                  <a:solidFill>
                    <a:schemeClr val="tx1"/>
                  </a:solidFill>
                </a:rPr>
                <a:t> </a:t>
              </a:r>
              <a:r>
                <a:rPr lang="en-US" sz="1400" dirty="0" err="1" smtClean="0">
                  <a:solidFill>
                    <a:schemeClr val="tx1"/>
                  </a:solidFill>
                </a:rPr>
                <a:t>já</a:t>
              </a:r>
              <a:r>
                <a:rPr lang="en-US" sz="1400" dirty="0" smtClean="0">
                  <a:solidFill>
                    <a:schemeClr val="tx1"/>
                  </a:solidFill>
                </a:rPr>
                <a:t> </a:t>
              </a:r>
              <a:r>
                <a:rPr lang="en-US" sz="1400" dirty="0" err="1" smtClean="0">
                  <a:solidFill>
                    <a:schemeClr val="tx1"/>
                  </a:solidFill>
                </a:rPr>
                <a:t>enviado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92" name="Conector de seta reta 91"/>
            <p:cNvCxnSpPr>
              <a:stCxn id="89" idx="2"/>
              <a:endCxn id="14" idx="6"/>
            </p:cNvCxnSpPr>
            <p:nvPr/>
          </p:nvCxnSpPr>
          <p:spPr>
            <a:xfrm rot="10800000">
              <a:off x="4191000" y="8998528"/>
              <a:ext cx="1371600" cy="183572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CaixaDeTexto 92"/>
            <p:cNvSpPr txBox="1"/>
            <p:nvPr/>
          </p:nvSpPr>
          <p:spPr>
            <a:xfrm rot="460570">
              <a:off x="4206783" y="8787067"/>
              <a:ext cx="1524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dirty="0" smtClean="0"/>
                <a:t>&lt;&lt;</a:t>
              </a:r>
              <a:r>
                <a:rPr lang="pt-BR" sz="1600" dirty="0" err="1" smtClean="0"/>
                <a:t>extends</a:t>
              </a:r>
              <a:r>
                <a:rPr lang="pt-BR" sz="1600" dirty="0" smtClean="0"/>
                <a:t>&gt;&gt;</a:t>
              </a:r>
              <a:endParaRPr lang="pt-BR" sz="1600" dirty="0"/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1" name="Objeto 10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r:id="rId35" imgW="0" imgH="0" progId="TCLayout.ActiveDocument.1">
              <p:embed/>
            </p:oleObj>
          </a:graphicData>
        </a:graphic>
      </p:graphicFrame>
      <p:grpSp>
        <p:nvGrpSpPr>
          <p:cNvPr id="265" name="Grupo 264"/>
          <p:cNvGrpSpPr/>
          <p:nvPr/>
        </p:nvGrpSpPr>
        <p:grpSpPr>
          <a:xfrm>
            <a:off x="685800" y="685800"/>
            <a:ext cx="7620000" cy="10744200"/>
            <a:chOff x="685800" y="685800"/>
            <a:chExt cx="7620000" cy="10744200"/>
          </a:xfrm>
        </p:grpSpPr>
        <p:grpSp>
          <p:nvGrpSpPr>
            <p:cNvPr id="67" name="Grupo 66"/>
            <p:cNvGrpSpPr/>
            <p:nvPr/>
          </p:nvGrpSpPr>
          <p:grpSpPr>
            <a:xfrm>
              <a:off x="685800" y="685800"/>
              <a:ext cx="7620000" cy="10744200"/>
              <a:chOff x="457200" y="228600"/>
              <a:chExt cx="7620000" cy="10744200"/>
            </a:xfrm>
          </p:grpSpPr>
          <p:grpSp>
            <p:nvGrpSpPr>
              <p:cNvPr id="188" name="Grupo 187"/>
              <p:cNvGrpSpPr/>
              <p:nvPr/>
            </p:nvGrpSpPr>
            <p:grpSpPr>
              <a:xfrm>
                <a:off x="457200" y="228600"/>
                <a:ext cx="7620000" cy="10744200"/>
                <a:chOff x="457200" y="228600"/>
                <a:chExt cx="7620000" cy="10744200"/>
              </a:xfrm>
            </p:grpSpPr>
            <p:grpSp>
              <p:nvGrpSpPr>
                <p:cNvPr id="103" name="Grupo 102"/>
                <p:cNvGrpSpPr/>
                <p:nvPr/>
              </p:nvGrpSpPr>
              <p:grpSpPr>
                <a:xfrm>
                  <a:off x="457200" y="228600"/>
                  <a:ext cx="7620000" cy="10744200"/>
                  <a:chOff x="457200" y="457200"/>
                  <a:chExt cx="7620000" cy="10744200"/>
                </a:xfrm>
              </p:grpSpPr>
              <p:grpSp>
                <p:nvGrpSpPr>
                  <p:cNvPr id="56" name="Grupo 55"/>
                  <p:cNvGrpSpPr/>
                  <p:nvPr>
                    <p:custDataLst>
                      <p:tags r:id="rId27"/>
                    </p:custDataLst>
                  </p:nvPr>
                </p:nvGrpSpPr>
                <p:grpSpPr>
                  <a:xfrm>
                    <a:off x="457200" y="457200"/>
                    <a:ext cx="7620000" cy="10744200"/>
                    <a:chOff x="457200" y="533400"/>
                    <a:chExt cx="7620000" cy="10744200"/>
                  </a:xfrm>
                </p:grpSpPr>
                <p:grpSp>
                  <p:nvGrpSpPr>
                    <p:cNvPr id="52" name="Grupo 51"/>
                    <p:cNvGrpSpPr/>
                    <p:nvPr/>
                  </p:nvGrpSpPr>
                  <p:grpSpPr>
                    <a:xfrm>
                      <a:off x="457200" y="533400"/>
                      <a:ext cx="7620000" cy="10744200"/>
                      <a:chOff x="457200" y="533400"/>
                      <a:chExt cx="7620000" cy="10744200"/>
                    </a:xfrm>
                  </p:grpSpPr>
                  <p:grpSp>
                    <p:nvGrpSpPr>
                      <p:cNvPr id="35" name="Grupo 34"/>
                      <p:cNvGrpSpPr/>
                      <p:nvPr/>
                    </p:nvGrpSpPr>
                    <p:grpSpPr>
                      <a:xfrm>
                        <a:off x="457200" y="533400"/>
                        <a:ext cx="7620000" cy="10744200"/>
                        <a:chOff x="457200" y="533400"/>
                        <a:chExt cx="7620000" cy="10744200"/>
                      </a:xfrm>
                    </p:grpSpPr>
                    <p:grpSp>
                      <p:nvGrpSpPr>
                        <p:cNvPr id="27" name="Group 26"/>
                        <p:cNvGrpSpPr/>
                        <p:nvPr/>
                      </p:nvGrpSpPr>
                      <p:grpSpPr>
                        <a:xfrm>
                          <a:off x="2133600" y="533400"/>
                          <a:ext cx="5943600" cy="10744200"/>
                          <a:chOff x="2133600" y="470140"/>
                          <a:chExt cx="5943600" cy="19663915"/>
                        </a:xfrm>
                      </p:grpSpPr>
                      <p:sp>
                        <p:nvSpPr>
                          <p:cNvPr id="29" name="Rectangle 28"/>
                          <p:cNvSpPr/>
                          <p:nvPr/>
                        </p:nvSpPr>
                        <p:spPr>
                          <a:xfrm>
                            <a:off x="2133600" y="470140"/>
                            <a:ext cx="5943600" cy="19663915"/>
                          </a:xfrm>
                          <a:prstGeom prst="rect">
                            <a:avLst/>
                          </a:prstGeom>
                          <a:solidFill>
                            <a:schemeClr val="bg1"/>
                          </a:solidFill>
                          <a:ln>
                            <a:solidFill>
                              <a:schemeClr val="tx1"/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/>
                          </a:p>
                        </p:txBody>
                      </p:sp>
                      <p:sp>
                        <p:nvSpPr>
                          <p:cNvPr id="31" name="Rectangle 30"/>
                          <p:cNvSpPr/>
                          <p:nvPr/>
                        </p:nvSpPr>
                        <p:spPr>
                          <a:xfrm>
                            <a:off x="6400800" y="470140"/>
                            <a:ext cx="1676400" cy="557842"/>
                          </a:xfrm>
                          <a:prstGeom prst="rect">
                            <a:avLst/>
                          </a:prstGeom>
                          <a:noFill/>
                          <a:ln>
                            <a:solidFill>
                              <a:schemeClr val="tx1"/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r>
                              <a:rPr lang="en-US" dirty="0" smtClean="0">
                                <a:solidFill>
                                  <a:schemeClr val="tx1"/>
                                </a:solidFill>
                              </a:rPr>
                              <a:t>VF2 - </a:t>
                            </a:r>
                            <a:r>
                              <a:rPr lang="en-US" dirty="0" err="1" smtClean="0">
                                <a:solidFill>
                                  <a:schemeClr val="tx1"/>
                                </a:solidFill>
                              </a:rPr>
                              <a:t>Servidor</a:t>
                            </a:r>
                            <a:endParaRPr lang="en-US" dirty="0">
                              <a:solidFill>
                                <a:schemeClr val="tx1"/>
                              </a:solidFill>
                            </a:endParaRPr>
                          </a:p>
                        </p:txBody>
                      </p:sp>
                    </p:grpSp>
                    <p:sp>
                      <p:nvSpPr>
                        <p:cNvPr id="5" name="Oval 4"/>
                        <p:cNvSpPr/>
                        <p:nvPr/>
                      </p:nvSpPr>
                      <p:spPr>
                        <a:xfrm>
                          <a:off x="2438400" y="1219200"/>
                          <a:ext cx="1600200" cy="640080"/>
                        </a:xfrm>
                        <a:prstGeom prst="ellipse">
                          <a:avLst/>
                        </a:prstGeom>
                        <a:solidFill>
                          <a:schemeClr val="bg1">
                            <a:lumMod val="75000"/>
                          </a:schemeClr>
                        </a:solidFill>
                        <a:ln w="3175">
                          <a:solidFill>
                            <a:schemeClr val="tx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r>
                            <a:rPr lang="en-US" sz="1400" dirty="0" err="1" smtClean="0">
                              <a:solidFill>
                                <a:schemeClr val="tx1"/>
                              </a:solidFill>
                            </a:rPr>
                            <a:t>Conectar</a:t>
                          </a:r>
                          <a:endParaRPr lang="en-US" sz="1400" dirty="0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  <p:sp>
                      <p:nvSpPr>
                        <p:cNvPr id="12" name="Oval 11"/>
                        <p:cNvSpPr/>
                        <p:nvPr/>
                      </p:nvSpPr>
                      <p:spPr>
                        <a:xfrm>
                          <a:off x="2438400" y="2133600"/>
                          <a:ext cx="1600200" cy="640080"/>
                        </a:xfrm>
                        <a:prstGeom prst="ellipse">
                          <a:avLst/>
                        </a:prstGeom>
                        <a:solidFill>
                          <a:schemeClr val="bg1">
                            <a:lumMod val="75000"/>
                          </a:schemeClr>
                        </a:solidFill>
                        <a:ln w="3175">
                          <a:solidFill>
                            <a:schemeClr val="tx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r>
                            <a:rPr lang="en-US" sz="1400" dirty="0" err="1" smtClean="0">
                              <a:solidFill>
                                <a:schemeClr val="tx1"/>
                              </a:solidFill>
                            </a:rPr>
                            <a:t>Identificar</a:t>
                          </a:r>
                          <a:r>
                            <a:rPr lang="en-US" sz="1400" dirty="0" smtClean="0">
                              <a:solidFill>
                                <a:schemeClr val="tx1"/>
                              </a:solidFill>
                            </a:rPr>
                            <a:t> </a:t>
                          </a:r>
                          <a:r>
                            <a:rPr lang="en-US" sz="1400" dirty="0" err="1" smtClean="0">
                              <a:solidFill>
                                <a:schemeClr val="tx1"/>
                              </a:solidFill>
                            </a:rPr>
                            <a:t>Participante</a:t>
                          </a:r>
                          <a:endParaRPr lang="en-US" sz="1400" dirty="0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  <p:cxnSp>
                      <p:nvCxnSpPr>
                        <p:cNvPr id="18" name="Straight Arrow Connector 17"/>
                        <p:cNvCxnSpPr>
                          <a:stCxn id="15" idx="3"/>
                          <a:endCxn id="5" idx="2"/>
                        </p:cNvCxnSpPr>
                        <p:nvPr/>
                      </p:nvCxnSpPr>
                      <p:spPr>
                        <a:xfrm flipV="1">
                          <a:off x="1219200" y="1539240"/>
                          <a:ext cx="1219200" cy="1889760"/>
                        </a:xfrm>
                        <a:prstGeom prst="straightConnector1">
                          <a:avLst/>
                        </a:prstGeom>
                        <a:ln>
                          <a:solidFill>
                            <a:schemeClr val="tx1"/>
                          </a:solidFill>
                          <a:tailEnd type="non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20" name="Straight Arrow Connector 19"/>
                        <p:cNvCxnSpPr>
                          <a:stCxn id="15" idx="3"/>
                          <a:endCxn id="12" idx="2"/>
                        </p:cNvCxnSpPr>
                        <p:nvPr/>
                      </p:nvCxnSpPr>
                      <p:spPr>
                        <a:xfrm flipV="1">
                          <a:off x="1219200" y="2453640"/>
                          <a:ext cx="1219200" cy="975360"/>
                        </a:xfrm>
                        <a:prstGeom prst="straightConnector1">
                          <a:avLst/>
                        </a:prstGeom>
                        <a:ln>
                          <a:solidFill>
                            <a:schemeClr val="tx1"/>
                          </a:solidFill>
                          <a:tailEnd type="non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grpSp>
                      <p:nvGrpSpPr>
                        <p:cNvPr id="2" name="Group 40"/>
                        <p:cNvGrpSpPr/>
                        <p:nvPr/>
                      </p:nvGrpSpPr>
                      <p:grpSpPr>
                        <a:xfrm>
                          <a:off x="457200" y="3048000"/>
                          <a:ext cx="914400" cy="1194375"/>
                          <a:chOff x="457200" y="3048000"/>
                          <a:chExt cx="914400" cy="1194375"/>
                        </a:xfrm>
                      </p:grpSpPr>
                      <p:grpSp>
                        <p:nvGrpSpPr>
                          <p:cNvPr id="3" name="Group 15"/>
                          <p:cNvGrpSpPr/>
                          <p:nvPr/>
                        </p:nvGrpSpPr>
                        <p:grpSpPr>
                          <a:xfrm>
                            <a:off x="609600" y="3048000"/>
                            <a:ext cx="609600" cy="762000"/>
                            <a:chOff x="609600" y="3048000"/>
                            <a:chExt cx="609600" cy="762000"/>
                          </a:xfrm>
                        </p:grpSpPr>
                        <p:pic>
                          <p:nvPicPr>
                            <p:cNvPr id="1026" name="Picture 2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36" cstate="print"/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609600" y="3048000"/>
                              <a:ext cx="571500" cy="639763"/>
                            </a:xfrm>
                            <a:prstGeom prst="rect">
                              <a:avLst/>
                            </a:prstGeom>
                            <a:noFill/>
                            <a:ln w="9525">
                              <a:noFill/>
                              <a:miter lim="800000"/>
                              <a:headEnd/>
                              <a:tailEnd/>
                            </a:ln>
                            <a:effectLst/>
                          </p:spPr>
                        </p:pic>
                        <p:sp>
                          <p:nvSpPr>
                            <p:cNvPr id="15" name="Rectangle 14"/>
                            <p:cNvSpPr/>
                            <p:nvPr/>
                          </p:nvSpPr>
                          <p:spPr>
                            <a:xfrm>
                              <a:off x="609600" y="3048000"/>
                              <a:ext cx="609600" cy="762000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/>
                            </a:p>
                          </p:txBody>
                        </p:sp>
                      </p:grpSp>
                      <p:sp>
                        <p:nvSpPr>
                          <p:cNvPr id="40" name="TextBox 39"/>
                          <p:cNvSpPr txBox="1"/>
                          <p:nvPr/>
                        </p:nvSpPr>
                        <p:spPr>
                          <a:xfrm>
                            <a:off x="457200" y="3657600"/>
                            <a:ext cx="914400" cy="584775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square" rtlCol="0">
                            <a:spAutoFit/>
                          </a:bodyPr>
                          <a:lstStyle/>
                          <a:p>
                            <a:pPr algn="ctr"/>
                            <a:r>
                              <a:rPr lang="en-US" sz="1600" b="1" dirty="0" smtClean="0"/>
                              <a:t>VF1 - </a:t>
                            </a:r>
                            <a:r>
                              <a:rPr lang="en-US" sz="1600" b="1" dirty="0" err="1" smtClean="0"/>
                              <a:t>Cliente</a:t>
                            </a:r>
                            <a:endParaRPr lang="en-US" sz="1600" b="1" dirty="0"/>
                          </a:p>
                        </p:txBody>
                      </p:sp>
                    </p:grpSp>
                    <p:sp>
                      <p:nvSpPr>
                        <p:cNvPr id="17" name="Oval 12"/>
                        <p:cNvSpPr/>
                        <p:nvPr/>
                      </p:nvSpPr>
                      <p:spPr>
                        <a:xfrm>
                          <a:off x="2514600" y="6400800"/>
                          <a:ext cx="1600200" cy="640080"/>
                        </a:xfrm>
                        <a:prstGeom prst="ellipse">
                          <a:avLst/>
                        </a:prstGeom>
                        <a:solidFill>
                          <a:schemeClr val="bg1">
                            <a:lumMod val="75000"/>
                          </a:schemeClr>
                        </a:solidFill>
                        <a:ln w="3175">
                          <a:solidFill>
                            <a:schemeClr val="tx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r>
                            <a:rPr lang="en-US" sz="1400" dirty="0" smtClean="0">
                              <a:solidFill>
                                <a:schemeClr val="tx1"/>
                              </a:solidFill>
                            </a:rPr>
                            <a:t>Registrar </a:t>
                          </a:r>
                          <a:r>
                            <a:rPr lang="en-US" sz="1400" dirty="0" err="1" smtClean="0">
                              <a:solidFill>
                                <a:schemeClr val="tx1"/>
                              </a:solidFill>
                            </a:rPr>
                            <a:t>Rótulo</a:t>
                          </a:r>
                          <a:endParaRPr lang="en-US" sz="1400" i="1" dirty="0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  <p:sp>
                      <p:nvSpPr>
                        <p:cNvPr id="19" name="Oval 12"/>
                        <p:cNvSpPr/>
                        <p:nvPr/>
                      </p:nvSpPr>
                      <p:spPr>
                        <a:xfrm>
                          <a:off x="2514600" y="8458200"/>
                          <a:ext cx="1600200" cy="640080"/>
                        </a:xfrm>
                        <a:prstGeom prst="ellipse">
                          <a:avLst/>
                        </a:prstGeom>
                        <a:solidFill>
                          <a:schemeClr val="bg1">
                            <a:lumMod val="75000"/>
                          </a:schemeClr>
                        </a:solidFill>
                        <a:ln w="3175">
                          <a:solidFill>
                            <a:schemeClr val="tx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r>
                            <a:rPr lang="en-US" sz="1400" dirty="0" err="1" smtClean="0">
                              <a:solidFill>
                                <a:schemeClr val="tx1"/>
                              </a:solidFill>
                            </a:rPr>
                            <a:t>Notificar</a:t>
                          </a:r>
                          <a:r>
                            <a:rPr lang="en-US" sz="1400" dirty="0" smtClean="0">
                              <a:solidFill>
                                <a:schemeClr val="tx1"/>
                              </a:solidFill>
                            </a:rPr>
                            <a:t> </a:t>
                          </a:r>
                          <a:r>
                            <a:rPr lang="en-US" sz="1400" dirty="0" err="1" smtClean="0">
                              <a:solidFill>
                                <a:schemeClr val="tx1"/>
                              </a:solidFill>
                            </a:rPr>
                            <a:t>Término</a:t>
                          </a:r>
                          <a:endParaRPr lang="en-US" sz="1400" i="1" dirty="0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  <p:sp>
                      <p:nvSpPr>
                        <p:cNvPr id="21" name="Oval 12"/>
                        <p:cNvSpPr/>
                        <p:nvPr/>
                      </p:nvSpPr>
                      <p:spPr>
                        <a:xfrm>
                          <a:off x="2514600" y="7239000"/>
                          <a:ext cx="1600200" cy="640080"/>
                        </a:xfrm>
                        <a:prstGeom prst="ellipse">
                          <a:avLst/>
                        </a:prstGeom>
                        <a:solidFill>
                          <a:schemeClr val="bg1">
                            <a:lumMod val="75000"/>
                          </a:schemeClr>
                        </a:solidFill>
                        <a:ln w="3175">
                          <a:solidFill>
                            <a:schemeClr val="tx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r>
                            <a:rPr lang="en-US" sz="1400" dirty="0" err="1" smtClean="0">
                              <a:solidFill>
                                <a:schemeClr val="tx1"/>
                              </a:solidFill>
                            </a:rPr>
                            <a:t>Desconectar</a:t>
                          </a:r>
                          <a:endParaRPr lang="en-US" sz="1400" dirty="0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  <p:cxnSp>
                      <p:nvCxnSpPr>
                        <p:cNvPr id="23" name="Straight Arrow Connector 21"/>
                        <p:cNvCxnSpPr>
                          <a:stCxn id="15" idx="3"/>
                          <a:endCxn id="17" idx="2"/>
                        </p:cNvCxnSpPr>
                        <p:nvPr/>
                      </p:nvCxnSpPr>
                      <p:spPr>
                        <a:xfrm>
                          <a:off x="1219200" y="3429000"/>
                          <a:ext cx="1295400" cy="3291840"/>
                        </a:xfrm>
                        <a:prstGeom prst="straightConnector1">
                          <a:avLst/>
                        </a:prstGeom>
                        <a:ln>
                          <a:solidFill>
                            <a:schemeClr val="tx1"/>
                          </a:solidFill>
                          <a:tailEnd type="non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25" name="Straight Arrow Connector 21"/>
                        <p:cNvCxnSpPr>
                          <a:stCxn id="15" idx="3"/>
                          <a:endCxn id="21" idx="2"/>
                        </p:cNvCxnSpPr>
                        <p:nvPr/>
                      </p:nvCxnSpPr>
                      <p:spPr>
                        <a:xfrm>
                          <a:off x="1219200" y="3429000"/>
                          <a:ext cx="1295400" cy="4130040"/>
                        </a:xfrm>
                        <a:prstGeom prst="straightConnector1">
                          <a:avLst/>
                        </a:prstGeom>
                        <a:ln>
                          <a:solidFill>
                            <a:schemeClr val="tx1"/>
                          </a:solidFill>
                          <a:tailEnd type="non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  <p:sp>
                    <p:nvSpPr>
                      <p:cNvPr id="28" name="Oval 11"/>
                      <p:cNvSpPr/>
                      <p:nvPr/>
                    </p:nvSpPr>
                    <p:spPr>
                      <a:xfrm>
                        <a:off x="5715000" y="1143000"/>
                        <a:ext cx="2133600" cy="685800"/>
                      </a:xfrm>
                      <a:prstGeom prst="ellipse">
                        <a:avLst/>
                      </a:prstGeom>
                      <a:solidFill>
                        <a:schemeClr val="bg1">
                          <a:lumMod val="95000"/>
                        </a:schemeClr>
                      </a:solidFill>
                      <a:ln w="3175"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Falha</a:t>
                        </a:r>
                        <a:r>
                          <a:rPr lang="en-US" sz="1400" dirty="0" smtClean="0">
                            <a:solidFill>
                              <a:schemeClr val="tx1"/>
                            </a:solidFill>
                          </a:rPr>
                          <a:t> </a:t>
                        </a:r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na</a:t>
                        </a:r>
                        <a:r>
                          <a:rPr lang="en-US" sz="1400" dirty="0" smtClean="0">
                            <a:solidFill>
                              <a:schemeClr val="tx1"/>
                            </a:solidFill>
                          </a:rPr>
                          <a:t> </a:t>
                        </a:r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conexão</a:t>
                        </a:r>
                        <a:r>
                          <a:rPr lang="en-US" sz="1400" dirty="0" smtClean="0">
                            <a:solidFill>
                              <a:schemeClr val="tx1"/>
                            </a:solidFill>
                          </a:rPr>
                          <a:t> </a:t>
                        </a:r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preliminar</a:t>
                        </a:r>
                        <a:endParaRPr lang="en-US" sz="1400" dirty="0" smtClean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cxnSp>
                    <p:nvCxnSpPr>
                      <p:cNvPr id="32" name="Conector de seta reta 31"/>
                      <p:cNvCxnSpPr>
                        <a:stCxn id="28" idx="2"/>
                        <a:endCxn id="5" idx="6"/>
                      </p:cNvCxnSpPr>
                      <p:nvPr/>
                    </p:nvCxnSpPr>
                    <p:spPr>
                      <a:xfrm rot="10800000" flipV="1">
                        <a:off x="4038600" y="1485900"/>
                        <a:ext cx="1676400" cy="53340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prstDash val="dash"/>
                        <a:tailEnd type="arrow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sp>
                    <p:nvSpPr>
                      <p:cNvPr id="33" name="CaixaDeTexto 32"/>
                      <p:cNvSpPr txBox="1"/>
                      <p:nvPr/>
                    </p:nvSpPr>
                    <p:spPr>
                      <a:xfrm>
                        <a:off x="4114800" y="1195078"/>
                        <a:ext cx="1524000" cy="338554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r>
                          <a:rPr lang="pt-BR" sz="1600" dirty="0" smtClean="0"/>
                          <a:t>&lt;&lt;</a:t>
                        </a:r>
                        <a:r>
                          <a:rPr lang="pt-BR" sz="1600" dirty="0" err="1" smtClean="0"/>
                          <a:t>extends</a:t>
                        </a:r>
                        <a:r>
                          <a:rPr lang="pt-BR" sz="1600" dirty="0" smtClean="0"/>
                          <a:t>&gt;&gt;</a:t>
                        </a:r>
                        <a:endParaRPr lang="pt-BR" sz="1600" dirty="0"/>
                      </a:p>
                    </p:txBody>
                  </p:sp>
                  <p:sp>
                    <p:nvSpPr>
                      <p:cNvPr id="41" name="Oval 12"/>
                      <p:cNvSpPr/>
                      <p:nvPr/>
                    </p:nvSpPr>
                    <p:spPr>
                      <a:xfrm>
                        <a:off x="2438400" y="3048000"/>
                        <a:ext cx="1905000" cy="640080"/>
                      </a:xfrm>
                      <a:prstGeom prst="ellipse">
                        <a:avLst/>
                      </a:prstGeom>
                      <a:solidFill>
                        <a:schemeClr val="bg1">
                          <a:lumMod val="75000"/>
                        </a:schemeClr>
                      </a:solidFill>
                      <a:ln w="3175"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Aguardar</a:t>
                        </a:r>
                        <a:r>
                          <a:rPr lang="en-US" sz="1400" dirty="0" smtClean="0">
                            <a:solidFill>
                              <a:schemeClr val="tx1"/>
                            </a:solidFill>
                          </a:rPr>
                          <a:t> </a:t>
                        </a:r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Início</a:t>
                        </a:r>
                        <a:r>
                          <a:rPr lang="en-US" sz="1400" dirty="0" smtClean="0">
                            <a:solidFill>
                              <a:schemeClr val="tx1"/>
                            </a:solidFill>
                          </a:rPr>
                          <a:t> de </a:t>
                        </a:r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Partida</a:t>
                        </a:r>
                        <a:endParaRPr lang="en-US" sz="1400" i="1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46" name="Oval 11"/>
                      <p:cNvSpPr/>
                      <p:nvPr/>
                    </p:nvSpPr>
                    <p:spPr>
                      <a:xfrm>
                        <a:off x="6019800" y="6705600"/>
                        <a:ext cx="1447800" cy="761999"/>
                      </a:xfrm>
                      <a:prstGeom prst="ellipse">
                        <a:avLst/>
                      </a:prstGeom>
                      <a:solidFill>
                        <a:schemeClr val="bg1">
                          <a:lumMod val="95000"/>
                        </a:schemeClr>
                      </a:solidFill>
                      <a:ln w="3175"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400" i="1" dirty="0" smtClean="0">
                            <a:solidFill>
                              <a:schemeClr val="tx1"/>
                            </a:solidFill>
                          </a:rPr>
                          <a:t>Match</a:t>
                        </a:r>
                      </a:p>
                      <a:p>
                        <a:pPr algn="ctr"/>
                        <a:r>
                          <a:rPr lang="en-US" sz="1400" dirty="0" err="1" smtClean="0">
                            <a:solidFill>
                              <a:schemeClr val="tx1"/>
                            </a:solidFill>
                          </a:rPr>
                          <a:t>ocorrido</a:t>
                        </a:r>
                        <a:endParaRPr lang="en-US" sz="1400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cxnSp>
                  <p:nvCxnSpPr>
                    <p:cNvPr id="53" name="Straight Arrow Connector 19"/>
                    <p:cNvCxnSpPr>
                      <a:stCxn id="15" idx="3"/>
                      <a:endCxn id="41" idx="2"/>
                    </p:cNvCxnSpPr>
                    <p:nvPr/>
                  </p:nvCxnSpPr>
                  <p:spPr>
                    <a:xfrm flipV="1">
                      <a:off x="1219200" y="3368040"/>
                      <a:ext cx="1219200" cy="60960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non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70" name="Oval 4"/>
                  <p:cNvSpPr/>
                  <p:nvPr>
                    <p:custDataLst>
                      <p:tags r:id="rId28"/>
                    </p:custDataLst>
                  </p:nvPr>
                </p:nvSpPr>
                <p:spPr>
                  <a:xfrm>
                    <a:off x="5638800" y="1905000"/>
                    <a:ext cx="2133600" cy="685800"/>
                  </a:xfrm>
                  <a:prstGeom prst="ellipse">
                    <a:avLst/>
                  </a:prstGeom>
                  <a:solidFill>
                    <a:schemeClr val="bg1">
                      <a:lumMod val="95000"/>
                    </a:schemeClr>
                  </a:solidFill>
                  <a:ln w="31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err="1" smtClean="0">
                        <a:solidFill>
                          <a:schemeClr val="tx1"/>
                        </a:solidFill>
                      </a:rPr>
                      <a:t>Identificado</a:t>
                    </a:r>
                    <a:r>
                      <a:rPr lang="en-US" sz="1400" dirty="0" smtClean="0">
                        <a:solidFill>
                          <a:schemeClr val="tx1"/>
                        </a:solidFill>
                      </a:rPr>
                      <a:t> </a:t>
                    </a:r>
                    <a:r>
                      <a:rPr lang="en-US" sz="1400" dirty="0" err="1" smtClean="0">
                        <a:solidFill>
                          <a:schemeClr val="tx1"/>
                        </a:solidFill>
                      </a:rPr>
                      <a:t>como</a:t>
                    </a:r>
                    <a:r>
                      <a:rPr lang="en-US" sz="1400" dirty="0" smtClean="0">
                        <a:solidFill>
                          <a:schemeClr val="tx1"/>
                        </a:solidFill>
                      </a:rPr>
                      <a:t> 3</a:t>
                    </a:r>
                    <a:r>
                      <a:rPr lang="en-US" sz="1400" baseline="30000" dirty="0" smtClean="0">
                        <a:solidFill>
                          <a:schemeClr val="tx1"/>
                        </a:solidFill>
                      </a:rPr>
                      <a:t>o</a:t>
                    </a:r>
                    <a:r>
                      <a:rPr lang="en-US" sz="1400" dirty="0" smtClean="0">
                        <a:solidFill>
                          <a:schemeClr val="tx1"/>
                        </a:solidFill>
                      </a:rPr>
                      <a:t>  </a:t>
                    </a:r>
                    <a:r>
                      <a:rPr lang="en-US" sz="1400" dirty="0" err="1" smtClean="0">
                        <a:solidFill>
                          <a:schemeClr val="tx1"/>
                        </a:solidFill>
                      </a:rPr>
                      <a:t>Participante</a:t>
                    </a: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  <p:cxnSp>
                <p:nvCxnSpPr>
                  <p:cNvPr id="85" name="Conector de seta reta 84"/>
                  <p:cNvCxnSpPr>
                    <a:stCxn id="70" idx="2"/>
                    <a:endCxn id="12" idx="6"/>
                  </p:cNvCxnSpPr>
                  <p:nvPr>
                    <p:custDataLst>
                      <p:tags r:id="rId29"/>
                    </p:custDataLst>
                  </p:nvPr>
                </p:nvCxnSpPr>
                <p:spPr>
                  <a:xfrm rot="10800000" flipV="1">
                    <a:off x="4038600" y="2247900"/>
                    <a:ext cx="1600200" cy="129540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prstDash val="dash"/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86" name="CaixaDeTexto 85"/>
                  <p:cNvSpPr txBox="1"/>
                  <p:nvPr>
                    <p:custDataLst>
                      <p:tags r:id="rId30"/>
                    </p:custDataLst>
                  </p:nvPr>
                </p:nvSpPr>
                <p:spPr>
                  <a:xfrm rot="21297170">
                    <a:off x="4126737" y="1971381"/>
                    <a:ext cx="1524000" cy="33855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pt-BR" sz="1600" dirty="0" smtClean="0"/>
                      <a:t>&lt;&lt;</a:t>
                    </a:r>
                    <a:r>
                      <a:rPr lang="pt-BR" sz="1600" dirty="0" err="1" smtClean="0"/>
                      <a:t>extends</a:t>
                    </a:r>
                    <a:r>
                      <a:rPr lang="pt-BR" sz="1600" dirty="0" smtClean="0"/>
                      <a:t>&gt;&gt;</a:t>
                    </a:r>
                    <a:endParaRPr lang="pt-BR" sz="1600" dirty="0"/>
                  </a:p>
                </p:txBody>
              </p:sp>
              <p:sp>
                <p:nvSpPr>
                  <p:cNvPr id="89" name="Oval 11"/>
                  <p:cNvSpPr/>
                  <p:nvPr>
                    <p:custDataLst>
                      <p:tags r:id="rId31"/>
                    </p:custDataLst>
                  </p:nvPr>
                </p:nvSpPr>
                <p:spPr>
                  <a:xfrm>
                    <a:off x="5486400" y="7772400"/>
                    <a:ext cx="1981200" cy="685800"/>
                  </a:xfrm>
                  <a:prstGeom prst="ellipse">
                    <a:avLst/>
                  </a:prstGeom>
                  <a:solidFill>
                    <a:schemeClr val="bg1">
                      <a:lumMod val="95000"/>
                    </a:schemeClr>
                  </a:solidFill>
                  <a:ln w="31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err="1" smtClean="0">
                        <a:solidFill>
                          <a:schemeClr val="tx1"/>
                        </a:solidFill>
                      </a:rPr>
                      <a:t>Falha</a:t>
                    </a:r>
                    <a:r>
                      <a:rPr lang="en-US" sz="1400" dirty="0" smtClean="0">
                        <a:solidFill>
                          <a:schemeClr val="tx1"/>
                        </a:solidFill>
                      </a:rPr>
                      <a:t> no </a:t>
                    </a:r>
                    <a:r>
                      <a:rPr lang="en-US" sz="1400" dirty="0" err="1" smtClean="0">
                        <a:solidFill>
                          <a:schemeClr val="tx1"/>
                        </a:solidFill>
                      </a:rPr>
                      <a:t>Banco</a:t>
                    </a:r>
                    <a:r>
                      <a:rPr lang="en-US" sz="1400" dirty="0" smtClean="0">
                        <a:solidFill>
                          <a:schemeClr val="tx1"/>
                        </a:solidFill>
                      </a:rPr>
                      <a:t> de Dados</a:t>
                    </a:r>
                    <a:endParaRPr lang="en-US" sz="1400" dirty="0">
                      <a:solidFill>
                        <a:schemeClr val="tx1"/>
                      </a:solidFill>
                    </a:endParaRPr>
                  </a:p>
                </p:txBody>
              </p:sp>
              <p:cxnSp>
                <p:nvCxnSpPr>
                  <p:cNvPr id="91" name="Conector de seta reta 90"/>
                  <p:cNvCxnSpPr>
                    <a:stCxn id="89" idx="2"/>
                    <a:endCxn id="19" idx="7"/>
                  </p:cNvCxnSpPr>
                  <p:nvPr>
                    <p:custDataLst>
                      <p:tags r:id="rId32"/>
                    </p:custDataLst>
                  </p:nvPr>
                </p:nvCxnSpPr>
                <p:spPr>
                  <a:xfrm rot="10800000" flipV="1">
                    <a:off x="3880456" y="8115299"/>
                    <a:ext cx="1605944" cy="360437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prstDash val="dash"/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04" name="Oval 11"/>
                <p:cNvSpPr/>
                <p:nvPr>
                  <p:custDataLst>
                    <p:tags r:id="rId25"/>
                  </p:custDataLst>
                </p:nvPr>
              </p:nvSpPr>
              <p:spPr>
                <a:xfrm>
                  <a:off x="5105400" y="4724400"/>
                  <a:ext cx="1295400" cy="1066800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36000" rIns="72000" bIns="36000" rtlCol="0" anchor="ctr"/>
                <a:lstStyle/>
                <a:p>
                  <a:pPr algn="ctr"/>
                  <a:r>
                    <a:rPr lang="en-US" sz="1400" dirty="0" err="1" smtClean="0">
                      <a:solidFill>
                        <a:schemeClr val="tx1"/>
                      </a:solidFill>
                    </a:rPr>
                    <a:t>Falha</a:t>
                  </a:r>
                  <a:r>
                    <a:rPr lang="en-US" sz="1400" dirty="0" smtClean="0">
                      <a:solidFill>
                        <a:schemeClr val="tx1"/>
                      </a:solidFill>
                    </a:rPr>
                    <a:t> </a:t>
                  </a:r>
                  <a:r>
                    <a:rPr lang="en-US" sz="1400" dirty="0" err="1" smtClean="0">
                      <a:solidFill>
                        <a:schemeClr val="tx1"/>
                      </a:solidFill>
                    </a:rPr>
                    <a:t>na</a:t>
                  </a:r>
                  <a:r>
                    <a:rPr lang="en-US" sz="1400" dirty="0" smtClean="0">
                      <a:solidFill>
                        <a:schemeClr val="tx1"/>
                      </a:solidFill>
                    </a:rPr>
                    <a:t> </a:t>
                  </a:r>
                  <a:r>
                    <a:rPr lang="en-US" sz="1400" dirty="0" err="1" smtClean="0">
                      <a:solidFill>
                        <a:schemeClr val="tx1"/>
                      </a:solidFill>
                    </a:rPr>
                    <a:t>Conexão</a:t>
                  </a:r>
                  <a:r>
                    <a:rPr lang="en-US" sz="1400" dirty="0" smtClean="0">
                      <a:solidFill>
                        <a:schemeClr val="tx1"/>
                      </a:solidFill>
                    </a:rPr>
                    <a:t> </a:t>
                  </a:r>
                  <a:r>
                    <a:rPr lang="en-US" sz="1400" dirty="0" smtClean="0">
                      <a:solidFill>
                        <a:schemeClr val="tx1"/>
                      </a:solidFill>
                    </a:rPr>
                    <a:t>c/ </a:t>
                  </a:r>
                  <a:r>
                    <a:rPr lang="en-US" sz="1400" dirty="0" err="1" smtClean="0">
                      <a:solidFill>
                        <a:schemeClr val="tx1"/>
                      </a:solidFill>
                    </a:rPr>
                    <a:t>Cliente</a:t>
                  </a: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5" name="Oval 12"/>
                <p:cNvSpPr/>
                <p:nvPr/>
              </p:nvSpPr>
              <p:spPr>
                <a:xfrm>
                  <a:off x="2438400" y="3962400"/>
                  <a:ext cx="1600200" cy="640080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400" dirty="0" err="1" smtClean="0">
                      <a:solidFill>
                        <a:schemeClr val="tx1"/>
                      </a:solidFill>
                    </a:rPr>
                    <a:t>Notificar</a:t>
                  </a:r>
                  <a:r>
                    <a:rPr lang="en-US" sz="1400" dirty="0" smtClean="0">
                      <a:solidFill>
                        <a:schemeClr val="tx1"/>
                      </a:solidFill>
                    </a:rPr>
                    <a:t> </a:t>
                  </a:r>
                  <a:r>
                    <a:rPr lang="en-US" sz="1400" dirty="0" err="1" smtClean="0">
                      <a:solidFill>
                        <a:schemeClr val="tx1"/>
                      </a:solidFill>
                    </a:rPr>
                    <a:t>Desistência</a:t>
                  </a: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06" name="Straight Arrow Connector 21"/>
                <p:cNvCxnSpPr>
                  <a:stCxn id="15" idx="3"/>
                  <a:endCxn id="105" idx="2"/>
                </p:cNvCxnSpPr>
                <p:nvPr/>
              </p:nvCxnSpPr>
              <p:spPr>
                <a:xfrm>
                  <a:off x="1219200" y="3124200"/>
                  <a:ext cx="1219200" cy="115824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2" name="CaixaDeTexto 161"/>
                <p:cNvSpPr txBox="1"/>
                <p:nvPr>
                  <p:custDataLst>
                    <p:tags r:id="rId26"/>
                  </p:custDataLst>
                </p:nvPr>
              </p:nvSpPr>
              <p:spPr>
                <a:xfrm rot="20926187">
                  <a:off x="4132230" y="7666655"/>
                  <a:ext cx="1524000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pt-BR" sz="1600" dirty="0" smtClean="0"/>
                    <a:t>&lt;&lt;</a:t>
                  </a:r>
                  <a:r>
                    <a:rPr lang="pt-BR" sz="1600" dirty="0" err="1" smtClean="0"/>
                    <a:t>extends</a:t>
                  </a:r>
                  <a:r>
                    <a:rPr lang="pt-BR" sz="1600" dirty="0" smtClean="0"/>
                    <a:t>&gt;&gt;</a:t>
                  </a:r>
                  <a:endParaRPr lang="pt-BR" sz="1600" dirty="0"/>
                </a:p>
              </p:txBody>
            </p:sp>
            <p:pic>
              <p:nvPicPr>
                <p:cNvPr id="181" name="Picture 2"/>
                <p:cNvPicPr>
                  <a:picLocks noChangeAspect="1" noChangeArrowheads="1"/>
                </p:cNvPicPr>
                <p:nvPr/>
              </p:nvPicPr>
              <p:blipFill>
                <a:blip r:embed="rId36" cstate="print"/>
                <a:srcRect/>
                <a:stretch>
                  <a:fillRect/>
                </a:stretch>
              </p:blipFill>
              <p:spPr bwMode="auto">
                <a:xfrm>
                  <a:off x="838200" y="7543800"/>
                  <a:ext cx="571500" cy="63976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sp>
              <p:nvSpPr>
                <p:cNvPr id="182" name="TextBox 39"/>
                <p:cNvSpPr txBox="1"/>
                <p:nvPr/>
              </p:nvSpPr>
              <p:spPr>
                <a:xfrm>
                  <a:off x="457200" y="8153400"/>
                  <a:ext cx="1371600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600" b="1" dirty="0" smtClean="0"/>
                    <a:t>VF2.1 - </a:t>
                  </a:r>
                  <a:r>
                    <a:rPr lang="en-US" sz="1600" b="1" dirty="0" err="1" smtClean="0"/>
                    <a:t>Temporizador</a:t>
                  </a:r>
                  <a:endParaRPr lang="en-US" sz="1600" b="1" dirty="0"/>
                </a:p>
              </p:txBody>
            </p:sp>
            <p:cxnSp>
              <p:nvCxnSpPr>
                <p:cNvPr id="183" name="Straight Arrow Connector 21"/>
                <p:cNvCxnSpPr>
                  <a:stCxn id="181" idx="3"/>
                  <a:endCxn id="19" idx="2"/>
                </p:cNvCxnSpPr>
                <p:nvPr/>
              </p:nvCxnSpPr>
              <p:spPr>
                <a:xfrm>
                  <a:off x="1409700" y="7863682"/>
                  <a:ext cx="1104900" cy="609758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5" name="Oval 12"/>
              <p:cNvSpPr/>
              <p:nvPr/>
            </p:nvSpPr>
            <p:spPr>
              <a:xfrm>
                <a:off x="2438400" y="4953000"/>
                <a:ext cx="1905000" cy="79248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 err="1" smtClean="0">
                    <a:solidFill>
                      <a:schemeClr val="tx1"/>
                    </a:solidFill>
                  </a:rPr>
                  <a:t>Notificar</a:t>
                </a:r>
                <a:r>
                  <a:rPr lang="en-US" sz="1400" dirty="0" smtClean="0">
                    <a:solidFill>
                      <a:schemeClr val="tx1"/>
                    </a:solidFill>
                  </a:rPr>
                  <a:t> </a:t>
                </a:r>
                <a:r>
                  <a:rPr lang="en-US" sz="1400" dirty="0" err="1" smtClean="0">
                    <a:solidFill>
                      <a:schemeClr val="tx1"/>
                    </a:solidFill>
                  </a:rPr>
                  <a:t>Cancelamento</a:t>
                </a:r>
                <a:r>
                  <a:rPr lang="en-US" sz="1400" dirty="0" smtClean="0">
                    <a:solidFill>
                      <a:schemeClr val="tx1"/>
                    </a:solidFill>
                  </a:rPr>
                  <a:t> de </a:t>
                </a:r>
                <a:r>
                  <a:rPr lang="en-US" sz="1400" dirty="0" err="1" smtClean="0">
                    <a:solidFill>
                      <a:schemeClr val="tx1"/>
                    </a:solidFill>
                  </a:rPr>
                  <a:t>Espera</a:t>
                </a: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62" name="Straight Arrow Connector 21"/>
              <p:cNvCxnSpPr>
                <a:stCxn id="15" idx="3"/>
                <a:endCxn id="55" idx="2"/>
              </p:cNvCxnSpPr>
              <p:nvPr/>
            </p:nvCxnSpPr>
            <p:spPr>
              <a:xfrm>
                <a:off x="1219200" y="3124200"/>
                <a:ext cx="1219200" cy="222504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1" name="Oval 12"/>
            <p:cNvSpPr/>
            <p:nvPr/>
          </p:nvSpPr>
          <p:spPr>
            <a:xfrm>
              <a:off x="2743200" y="10159425"/>
              <a:ext cx="1600200" cy="64008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err="1" smtClean="0">
                  <a:solidFill>
                    <a:schemeClr val="tx1"/>
                  </a:solidFill>
                </a:rPr>
                <a:t>Iniciar</a:t>
              </a:r>
              <a:r>
                <a:rPr lang="en-US" sz="1400" dirty="0" smtClean="0">
                  <a:solidFill>
                    <a:schemeClr val="tx1"/>
                  </a:solidFill>
                </a:rPr>
                <a:t> </a:t>
              </a:r>
              <a:r>
                <a:rPr lang="en-US" sz="1400" dirty="0" err="1" smtClean="0">
                  <a:solidFill>
                    <a:schemeClr val="tx1"/>
                  </a:solidFill>
                </a:rPr>
                <a:t>Servidor</a:t>
              </a:r>
              <a:endParaRPr lang="en-US" sz="1400" i="1" dirty="0">
                <a:solidFill>
                  <a:schemeClr val="tx1"/>
                </a:solidFill>
              </a:endParaRPr>
            </a:p>
          </p:txBody>
        </p:sp>
        <p:sp>
          <p:nvSpPr>
            <p:cNvPr id="63" name="Oval 11"/>
            <p:cNvSpPr/>
            <p:nvPr>
              <p:custDataLst>
                <p:tags r:id="rId2"/>
              </p:custDataLst>
            </p:nvPr>
          </p:nvSpPr>
          <p:spPr>
            <a:xfrm>
              <a:off x="5867400" y="10363200"/>
              <a:ext cx="1981200" cy="6858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err="1" smtClean="0">
                  <a:solidFill>
                    <a:schemeClr val="tx1"/>
                  </a:solidFill>
                </a:rPr>
                <a:t>Falha</a:t>
              </a:r>
              <a:r>
                <a:rPr lang="en-US" sz="1400" dirty="0" smtClean="0">
                  <a:solidFill>
                    <a:schemeClr val="tx1"/>
                  </a:solidFill>
                </a:rPr>
                <a:t> </a:t>
              </a:r>
              <a:r>
                <a:rPr lang="en-US" sz="1400" dirty="0" err="1" smtClean="0">
                  <a:solidFill>
                    <a:schemeClr val="tx1"/>
                  </a:solidFill>
                </a:rPr>
                <a:t>ao</a:t>
              </a:r>
              <a:r>
                <a:rPr lang="en-US" sz="1400" dirty="0" smtClean="0">
                  <a:solidFill>
                    <a:schemeClr val="tx1"/>
                  </a:solidFill>
                </a:rPr>
                <a:t> </a:t>
              </a:r>
              <a:r>
                <a:rPr lang="en-US" sz="1400" dirty="0" err="1" smtClean="0">
                  <a:solidFill>
                    <a:schemeClr val="tx1"/>
                  </a:solidFill>
                </a:rPr>
                <a:t>Iniciar</a:t>
              </a:r>
              <a:r>
                <a:rPr lang="en-US" sz="1400" dirty="0" smtClean="0">
                  <a:solidFill>
                    <a:schemeClr val="tx1"/>
                  </a:solidFill>
                </a:rPr>
                <a:t> </a:t>
              </a:r>
              <a:r>
                <a:rPr lang="en-US" sz="1400" dirty="0" err="1" smtClean="0">
                  <a:solidFill>
                    <a:schemeClr val="tx1"/>
                  </a:solidFill>
                </a:rPr>
                <a:t>Servidor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64" name="Conector de seta reta 63"/>
            <p:cNvCxnSpPr>
              <a:stCxn id="63" idx="2"/>
              <a:endCxn id="61" idx="6"/>
            </p:cNvCxnSpPr>
            <p:nvPr>
              <p:custDataLst>
                <p:tags r:id="rId3"/>
              </p:custDataLst>
            </p:nvPr>
          </p:nvCxnSpPr>
          <p:spPr>
            <a:xfrm rot="10800000">
              <a:off x="4343400" y="10479466"/>
              <a:ext cx="1524000" cy="226635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CaixaDeTexto 64"/>
            <p:cNvSpPr txBox="1"/>
            <p:nvPr>
              <p:custDataLst>
                <p:tags r:id="rId4"/>
              </p:custDataLst>
            </p:nvPr>
          </p:nvSpPr>
          <p:spPr>
            <a:xfrm rot="654791">
              <a:off x="4581492" y="10304468"/>
              <a:ext cx="1524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dirty="0" smtClean="0"/>
                <a:t>&lt;&lt;</a:t>
              </a:r>
              <a:r>
                <a:rPr lang="pt-BR" sz="1600" dirty="0" err="1" smtClean="0"/>
                <a:t>extends</a:t>
              </a:r>
              <a:r>
                <a:rPr lang="pt-BR" sz="1600" dirty="0" smtClean="0"/>
                <a:t>&gt;&gt;</a:t>
              </a:r>
              <a:endParaRPr lang="pt-BR" sz="1600" dirty="0"/>
            </a:p>
          </p:txBody>
        </p:sp>
        <p:pic>
          <p:nvPicPr>
            <p:cNvPr id="66" name="Picture 2"/>
            <p:cNvPicPr>
              <a:picLocks noChangeAspect="1" noChangeArrowheads="1"/>
            </p:cNvPicPr>
            <p:nvPr/>
          </p:nvPicPr>
          <p:blipFill>
            <a:blip r:embed="rId36" cstate="print"/>
            <a:srcRect/>
            <a:stretch>
              <a:fillRect/>
            </a:stretch>
          </p:blipFill>
          <p:spPr bwMode="auto">
            <a:xfrm>
              <a:off x="1066800" y="9702225"/>
              <a:ext cx="571500" cy="6397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68" name="TextBox 39"/>
            <p:cNvSpPr txBox="1"/>
            <p:nvPr/>
          </p:nvSpPr>
          <p:spPr>
            <a:xfrm>
              <a:off x="685800" y="10311825"/>
              <a:ext cx="13716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err="1" smtClean="0"/>
                <a:t>Adminis-trador</a:t>
              </a:r>
              <a:endParaRPr lang="en-US" sz="1600" b="1" dirty="0"/>
            </a:p>
          </p:txBody>
        </p:sp>
        <p:cxnSp>
          <p:nvCxnSpPr>
            <p:cNvPr id="69" name="Straight Arrow Connector 21"/>
            <p:cNvCxnSpPr>
              <a:stCxn id="66" idx="3"/>
              <a:endCxn id="61" idx="2"/>
            </p:cNvCxnSpPr>
            <p:nvPr/>
          </p:nvCxnSpPr>
          <p:spPr>
            <a:xfrm>
              <a:off x="1638300" y="10022107"/>
              <a:ext cx="1104900" cy="457358"/>
            </a:xfrm>
            <a:prstGeom prst="straightConnector1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Oval 4"/>
            <p:cNvSpPr/>
            <p:nvPr>
              <p:custDataLst>
                <p:tags r:id="rId5"/>
              </p:custDataLst>
            </p:nvPr>
          </p:nvSpPr>
          <p:spPr>
            <a:xfrm>
              <a:off x="5562600" y="3048000"/>
              <a:ext cx="2514600" cy="9906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2</a:t>
              </a:r>
              <a:r>
                <a:rPr lang="en-US" sz="1400" baseline="30000" dirty="0" smtClean="0">
                  <a:solidFill>
                    <a:schemeClr val="tx1"/>
                  </a:solidFill>
                </a:rPr>
                <a:t>o</a:t>
              </a:r>
              <a:r>
                <a:rPr lang="en-US" sz="1400" dirty="0" smtClean="0">
                  <a:solidFill>
                    <a:schemeClr val="tx1"/>
                  </a:solidFill>
                </a:rPr>
                <a:t> </a:t>
              </a:r>
              <a:r>
                <a:rPr lang="en-US" sz="1400" dirty="0" err="1" smtClean="0">
                  <a:solidFill>
                    <a:schemeClr val="tx1"/>
                  </a:solidFill>
                </a:rPr>
                <a:t>Participante</a:t>
              </a:r>
              <a:r>
                <a:rPr lang="en-US" sz="1400" dirty="0" smtClean="0">
                  <a:solidFill>
                    <a:schemeClr val="tx1"/>
                  </a:solidFill>
                </a:rPr>
                <a:t> a Registrar </a:t>
              </a:r>
              <a:r>
                <a:rPr lang="en-US" sz="1400" dirty="0" err="1" smtClean="0">
                  <a:solidFill>
                    <a:schemeClr val="tx1"/>
                  </a:solidFill>
                </a:rPr>
                <a:t>Notificação</a:t>
              </a:r>
              <a:r>
                <a:rPr lang="en-US" sz="1400" dirty="0" smtClean="0">
                  <a:solidFill>
                    <a:schemeClr val="tx1"/>
                  </a:solidFill>
                </a:rPr>
                <a:t> de </a:t>
              </a:r>
              <a:r>
                <a:rPr lang="en-US" sz="1400" dirty="0" err="1" smtClean="0">
                  <a:solidFill>
                    <a:schemeClr val="tx1"/>
                  </a:solidFill>
                </a:rPr>
                <a:t>Espera</a:t>
              </a:r>
              <a:r>
                <a:rPr lang="en-US" sz="1400" dirty="0" smtClean="0">
                  <a:solidFill>
                    <a:schemeClr val="tx1"/>
                  </a:solidFill>
                </a:rPr>
                <a:t> </a:t>
              </a:r>
              <a:r>
                <a:rPr lang="en-US" sz="1400" dirty="0" err="1" smtClean="0">
                  <a:solidFill>
                    <a:schemeClr val="tx1"/>
                  </a:solidFill>
                </a:rPr>
                <a:t>por</a:t>
              </a:r>
              <a:r>
                <a:rPr lang="en-US" sz="1400" dirty="0" smtClean="0">
                  <a:solidFill>
                    <a:schemeClr val="tx1"/>
                  </a:solidFill>
                </a:rPr>
                <a:t> </a:t>
              </a:r>
              <a:r>
                <a:rPr lang="en-US" sz="1400" dirty="0" err="1" smtClean="0">
                  <a:solidFill>
                    <a:schemeClr val="tx1"/>
                  </a:solidFill>
                </a:rPr>
                <a:t>Partida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76" name="Conector de seta reta 75"/>
            <p:cNvCxnSpPr>
              <a:stCxn id="75" idx="2"/>
              <a:endCxn id="41" idx="6"/>
            </p:cNvCxnSpPr>
            <p:nvPr>
              <p:custDataLst>
                <p:tags r:id="rId6"/>
              </p:custDataLst>
            </p:nvPr>
          </p:nvCxnSpPr>
          <p:spPr>
            <a:xfrm rot="10800000">
              <a:off x="4572000" y="3520440"/>
              <a:ext cx="990600" cy="22860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CaixaDeTexto 76"/>
            <p:cNvSpPr txBox="1"/>
            <p:nvPr>
              <p:custDataLst>
                <p:tags r:id="rId7"/>
              </p:custDataLst>
            </p:nvPr>
          </p:nvSpPr>
          <p:spPr>
            <a:xfrm>
              <a:off x="4495800" y="3124200"/>
              <a:ext cx="1524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dirty="0" smtClean="0"/>
                <a:t>&lt;&lt;</a:t>
              </a:r>
              <a:r>
                <a:rPr lang="pt-BR" sz="1600" dirty="0" err="1" smtClean="0"/>
                <a:t>extends</a:t>
              </a:r>
              <a:r>
                <a:rPr lang="pt-BR" sz="1600" dirty="0" smtClean="0"/>
                <a:t>&gt;&gt;</a:t>
              </a:r>
              <a:endParaRPr lang="pt-BR" sz="1600" dirty="0"/>
            </a:p>
          </p:txBody>
        </p:sp>
        <p:cxnSp>
          <p:nvCxnSpPr>
            <p:cNvPr id="114" name="Conector de seta reta 113"/>
            <p:cNvCxnSpPr>
              <a:stCxn id="104" idx="0"/>
              <a:endCxn id="75" idx="4"/>
            </p:cNvCxnSpPr>
            <p:nvPr>
              <p:custDataLst>
                <p:tags r:id="rId8"/>
              </p:custDataLst>
            </p:nvPr>
          </p:nvCxnSpPr>
          <p:spPr>
            <a:xfrm rot="5400000" flipH="1" flipV="1">
              <a:off x="5829300" y="4191000"/>
              <a:ext cx="1143000" cy="838200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CaixaDeTexto 114"/>
            <p:cNvSpPr txBox="1"/>
            <p:nvPr>
              <p:custDataLst>
                <p:tags r:id="rId9"/>
              </p:custDataLst>
            </p:nvPr>
          </p:nvSpPr>
          <p:spPr>
            <a:xfrm rot="18822678">
              <a:off x="5468924" y="4289048"/>
              <a:ext cx="1524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dirty="0" smtClean="0"/>
                <a:t>&lt;&lt;</a:t>
              </a:r>
              <a:r>
                <a:rPr lang="pt-BR" sz="1600" dirty="0" err="1" smtClean="0"/>
                <a:t>extends</a:t>
              </a:r>
              <a:r>
                <a:rPr lang="pt-BR" sz="1600" dirty="0" smtClean="0"/>
                <a:t>&gt;&gt;</a:t>
              </a:r>
              <a:endParaRPr lang="pt-BR" sz="1600" dirty="0"/>
            </a:p>
          </p:txBody>
        </p:sp>
        <p:sp>
          <p:nvSpPr>
            <p:cNvPr id="127" name="Oval 11"/>
            <p:cNvSpPr/>
            <p:nvPr>
              <p:custDataLst>
                <p:tags r:id="rId10"/>
              </p:custDataLst>
            </p:nvPr>
          </p:nvSpPr>
          <p:spPr>
            <a:xfrm>
              <a:off x="6477000" y="4572000"/>
              <a:ext cx="1752600" cy="8382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1o </a:t>
              </a:r>
              <a:r>
                <a:rPr lang="en-US" sz="1400" dirty="0" err="1" smtClean="0">
                  <a:solidFill>
                    <a:schemeClr val="tx1"/>
                  </a:solidFill>
                </a:rPr>
                <a:t>Participante</a:t>
              </a:r>
              <a:r>
                <a:rPr lang="en-US" sz="1400" dirty="0" smtClean="0">
                  <a:solidFill>
                    <a:schemeClr val="tx1"/>
                  </a:solidFill>
                </a:rPr>
                <a:t> se </a:t>
              </a:r>
              <a:r>
                <a:rPr lang="en-US" sz="1400" dirty="0" err="1" smtClean="0">
                  <a:solidFill>
                    <a:schemeClr val="tx1"/>
                  </a:solidFill>
                </a:rPr>
                <a:t>desconectou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29" name="Conector de seta reta 128"/>
            <p:cNvCxnSpPr>
              <a:stCxn id="127" idx="0"/>
              <a:endCxn id="75" idx="5"/>
            </p:cNvCxnSpPr>
            <p:nvPr>
              <p:custDataLst>
                <p:tags r:id="rId11"/>
              </p:custDataLst>
            </p:nvPr>
          </p:nvCxnSpPr>
          <p:spPr>
            <a:xfrm rot="5400000" flipH="1" flipV="1">
              <a:off x="7191887" y="4054943"/>
              <a:ext cx="678470" cy="355645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CaixaDeTexto 131"/>
            <p:cNvSpPr txBox="1"/>
            <p:nvPr>
              <p:custDataLst>
                <p:tags r:id="rId12"/>
              </p:custDataLst>
            </p:nvPr>
          </p:nvSpPr>
          <p:spPr>
            <a:xfrm>
              <a:off x="6934200" y="4191000"/>
              <a:ext cx="12954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dirty="0" smtClean="0"/>
                <a:t>&lt;&lt;</a:t>
              </a:r>
              <a:r>
                <a:rPr lang="pt-BR" sz="1600" dirty="0" err="1" smtClean="0"/>
                <a:t>extends</a:t>
              </a:r>
              <a:r>
                <a:rPr lang="pt-BR" sz="1600" dirty="0" smtClean="0"/>
                <a:t>&gt;&gt;</a:t>
              </a:r>
              <a:endParaRPr lang="pt-BR" sz="1600" dirty="0"/>
            </a:p>
          </p:txBody>
        </p:sp>
        <p:cxnSp>
          <p:nvCxnSpPr>
            <p:cNvPr id="136" name="Conector de seta reta 135"/>
            <p:cNvCxnSpPr>
              <a:stCxn id="104" idx="1"/>
              <a:endCxn id="105" idx="6"/>
            </p:cNvCxnSpPr>
            <p:nvPr>
              <p:custDataLst>
                <p:tags r:id="rId13"/>
              </p:custDataLst>
            </p:nvPr>
          </p:nvCxnSpPr>
          <p:spPr>
            <a:xfrm rot="16200000" flipV="1">
              <a:off x="4596360" y="4410481"/>
              <a:ext cx="598189" cy="1256507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CaixaDeTexto 139"/>
            <p:cNvSpPr txBox="1"/>
            <p:nvPr>
              <p:custDataLst>
                <p:tags r:id="rId14"/>
              </p:custDataLst>
            </p:nvPr>
          </p:nvSpPr>
          <p:spPr>
            <a:xfrm rot="1490029">
              <a:off x="4355920" y="4670805"/>
              <a:ext cx="1270991" cy="3394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dirty="0" smtClean="0"/>
                <a:t>&lt;&lt;</a:t>
              </a:r>
              <a:r>
                <a:rPr lang="pt-BR" sz="1600" dirty="0" err="1" smtClean="0"/>
                <a:t>extends</a:t>
              </a:r>
              <a:r>
                <a:rPr lang="pt-BR" sz="1600" dirty="0" smtClean="0"/>
                <a:t>&gt;&gt;</a:t>
              </a:r>
              <a:endParaRPr lang="pt-BR" sz="1600" dirty="0"/>
            </a:p>
          </p:txBody>
        </p:sp>
        <p:cxnSp>
          <p:nvCxnSpPr>
            <p:cNvPr id="147" name="Conector de seta reta 146"/>
            <p:cNvCxnSpPr>
              <a:stCxn id="46" idx="2"/>
              <a:endCxn id="17" idx="6"/>
            </p:cNvCxnSpPr>
            <p:nvPr>
              <p:custDataLst>
                <p:tags r:id="rId15"/>
              </p:custDataLst>
            </p:nvPr>
          </p:nvCxnSpPr>
          <p:spPr>
            <a:xfrm rot="10800000">
              <a:off x="4343400" y="6873240"/>
              <a:ext cx="1905000" cy="365760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8" name="CaixaDeTexto 147"/>
            <p:cNvSpPr txBox="1"/>
            <p:nvPr>
              <p:custDataLst>
                <p:tags r:id="rId16"/>
              </p:custDataLst>
            </p:nvPr>
          </p:nvSpPr>
          <p:spPr>
            <a:xfrm rot="362873">
              <a:off x="4814945" y="6695411"/>
              <a:ext cx="1270991" cy="3394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dirty="0" smtClean="0"/>
                <a:t>&lt;&lt;</a:t>
              </a:r>
              <a:r>
                <a:rPr lang="pt-BR" sz="1600" dirty="0" err="1" smtClean="0"/>
                <a:t>extends</a:t>
              </a:r>
              <a:r>
                <a:rPr lang="pt-BR" sz="1600" dirty="0" smtClean="0"/>
                <a:t>&gt;&gt;</a:t>
              </a:r>
              <a:endParaRPr lang="pt-BR" sz="1600" dirty="0"/>
            </a:p>
          </p:txBody>
        </p:sp>
        <p:cxnSp>
          <p:nvCxnSpPr>
            <p:cNvPr id="178" name="Conector de seta reta 177"/>
            <p:cNvCxnSpPr>
              <a:stCxn id="46" idx="0"/>
              <a:endCxn id="104" idx="5"/>
            </p:cNvCxnSpPr>
            <p:nvPr>
              <p:custDataLst>
                <p:tags r:id="rId17"/>
              </p:custDataLst>
            </p:nvPr>
          </p:nvCxnSpPr>
          <p:spPr>
            <a:xfrm rot="16200000" flipV="1">
              <a:off x="6323083" y="6208782"/>
              <a:ext cx="765829" cy="532607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9" name="CaixaDeTexto 178"/>
            <p:cNvSpPr txBox="1"/>
            <p:nvPr>
              <p:custDataLst>
                <p:tags r:id="rId18"/>
              </p:custDataLst>
            </p:nvPr>
          </p:nvSpPr>
          <p:spPr>
            <a:xfrm rot="20221193">
              <a:off x="6111832" y="6254434"/>
              <a:ext cx="1270991" cy="3394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dirty="0" smtClean="0"/>
                <a:t>&lt;&lt;</a:t>
              </a:r>
              <a:r>
                <a:rPr lang="pt-BR" sz="1600" dirty="0" err="1" smtClean="0"/>
                <a:t>extends</a:t>
              </a:r>
              <a:r>
                <a:rPr lang="pt-BR" sz="1600" dirty="0" smtClean="0"/>
                <a:t>&gt;&gt;</a:t>
              </a:r>
              <a:endParaRPr lang="pt-BR" sz="1600" dirty="0"/>
            </a:p>
          </p:txBody>
        </p:sp>
        <p:sp>
          <p:nvSpPr>
            <p:cNvPr id="233" name="Oval 11"/>
            <p:cNvSpPr/>
            <p:nvPr>
              <p:custDataLst>
                <p:tags r:id="rId19"/>
              </p:custDataLst>
            </p:nvPr>
          </p:nvSpPr>
          <p:spPr>
            <a:xfrm>
              <a:off x="5791200" y="8915400"/>
              <a:ext cx="1981200" cy="6858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err="1" smtClean="0">
                  <a:solidFill>
                    <a:schemeClr val="tx1"/>
                  </a:solidFill>
                </a:rPr>
                <a:t>Participante</a:t>
              </a:r>
              <a:r>
                <a:rPr lang="en-US" sz="1400" dirty="0" smtClean="0">
                  <a:solidFill>
                    <a:schemeClr val="tx1"/>
                  </a:solidFill>
                </a:rPr>
                <a:t> </a:t>
              </a:r>
              <a:r>
                <a:rPr lang="en-US" sz="1400" dirty="0" err="1" smtClean="0">
                  <a:solidFill>
                    <a:schemeClr val="tx1"/>
                  </a:solidFill>
                </a:rPr>
                <a:t>não</a:t>
              </a:r>
              <a:r>
                <a:rPr lang="en-US" sz="1400" dirty="0" smtClean="0">
                  <a:solidFill>
                    <a:schemeClr val="tx1"/>
                  </a:solidFill>
                </a:rPr>
                <a:t> </a:t>
              </a:r>
              <a:r>
                <a:rPr lang="en-US" sz="1400" dirty="0" err="1" smtClean="0">
                  <a:solidFill>
                    <a:schemeClr val="tx1"/>
                  </a:solidFill>
                </a:rPr>
                <a:t>cadastrado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234" name="Conector de seta reta 233"/>
            <p:cNvCxnSpPr>
              <a:stCxn id="233" idx="2"/>
              <a:endCxn id="19" idx="6"/>
            </p:cNvCxnSpPr>
            <p:nvPr>
              <p:custDataLst>
                <p:tags r:id="rId20"/>
              </p:custDataLst>
            </p:nvPr>
          </p:nvCxnSpPr>
          <p:spPr>
            <a:xfrm rot="10800000">
              <a:off x="4343400" y="8930640"/>
              <a:ext cx="1447800" cy="327660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8" name="CaixaDeTexto 237"/>
            <p:cNvSpPr txBox="1"/>
            <p:nvPr>
              <p:custDataLst>
                <p:tags r:id="rId21"/>
              </p:custDataLst>
            </p:nvPr>
          </p:nvSpPr>
          <p:spPr>
            <a:xfrm rot="711656">
              <a:off x="4438124" y="9068404"/>
              <a:ext cx="1524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dirty="0" smtClean="0"/>
                <a:t>&lt;&lt;</a:t>
              </a:r>
              <a:r>
                <a:rPr lang="pt-BR" sz="1600" dirty="0" err="1" smtClean="0"/>
                <a:t>extends</a:t>
              </a:r>
              <a:r>
                <a:rPr lang="pt-BR" sz="1600" dirty="0" smtClean="0"/>
                <a:t>&gt;&gt;</a:t>
              </a:r>
              <a:endParaRPr lang="pt-BR" sz="1600" dirty="0"/>
            </a:p>
          </p:txBody>
        </p:sp>
        <p:cxnSp>
          <p:nvCxnSpPr>
            <p:cNvPr id="246" name="Conector de seta reta 245"/>
            <p:cNvCxnSpPr>
              <a:stCxn id="63" idx="6"/>
            </p:cNvCxnSpPr>
            <p:nvPr>
              <p:custDataLst>
                <p:tags r:id="rId22"/>
              </p:custDataLst>
            </p:nvPr>
          </p:nvCxnSpPr>
          <p:spPr>
            <a:xfrm flipV="1">
              <a:off x="7848600" y="6019800"/>
              <a:ext cx="76200" cy="4686300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Conector de seta reta 248"/>
            <p:cNvCxnSpPr>
              <a:endCxn id="104" idx="6"/>
            </p:cNvCxnSpPr>
            <p:nvPr>
              <p:custDataLst>
                <p:tags r:id="rId23"/>
              </p:custDataLst>
            </p:nvPr>
          </p:nvCxnSpPr>
          <p:spPr>
            <a:xfrm rot="10800000">
              <a:off x="6629400" y="5715000"/>
              <a:ext cx="1371600" cy="304800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9" name="CaixaDeTexto 258"/>
            <p:cNvSpPr txBox="1"/>
            <p:nvPr>
              <p:custDataLst>
                <p:tags r:id="rId24"/>
              </p:custDataLst>
            </p:nvPr>
          </p:nvSpPr>
          <p:spPr>
            <a:xfrm rot="533019">
              <a:off x="6952787" y="10002102"/>
              <a:ext cx="1270991" cy="3394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dirty="0" smtClean="0"/>
                <a:t>&lt;&lt;</a:t>
              </a:r>
              <a:r>
                <a:rPr lang="pt-BR" sz="1600" dirty="0" err="1" smtClean="0"/>
                <a:t>extends</a:t>
              </a:r>
              <a:r>
                <a:rPr lang="pt-BR" sz="1600" dirty="0" smtClean="0"/>
                <a:t>&gt;&gt;</a:t>
              </a:r>
              <a:endParaRPr lang="pt-BR" sz="1600" dirty="0"/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upo 65"/>
          <p:cNvGrpSpPr/>
          <p:nvPr/>
        </p:nvGrpSpPr>
        <p:grpSpPr>
          <a:xfrm>
            <a:off x="1600200" y="6019800"/>
            <a:ext cx="5257800" cy="3505200"/>
            <a:chOff x="1600200" y="6019800"/>
            <a:chExt cx="5257800" cy="3505200"/>
          </a:xfrm>
        </p:grpSpPr>
        <p:grpSp>
          <p:nvGrpSpPr>
            <p:cNvPr id="64" name="Grupo 63"/>
            <p:cNvGrpSpPr/>
            <p:nvPr>
              <p:custDataLst>
                <p:tags r:id="rId3"/>
              </p:custDataLst>
            </p:nvPr>
          </p:nvGrpSpPr>
          <p:grpSpPr>
            <a:xfrm>
              <a:off x="1600200" y="6019800"/>
              <a:ext cx="5257800" cy="3505200"/>
              <a:chOff x="2743200" y="2667000"/>
              <a:chExt cx="5257800" cy="3505200"/>
            </a:xfrm>
          </p:grpSpPr>
          <p:sp>
            <p:nvSpPr>
              <p:cNvPr id="29" name="Rectangle 28"/>
              <p:cNvSpPr/>
              <p:nvPr/>
            </p:nvSpPr>
            <p:spPr>
              <a:xfrm>
                <a:off x="2743200" y="2667000"/>
                <a:ext cx="5257800" cy="35052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6324600" y="2667000"/>
                <a:ext cx="1676400" cy="304800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>
                    <a:solidFill>
                      <a:schemeClr val="tx1"/>
                    </a:solidFill>
                  </a:rPr>
                  <a:t>VF2 - </a:t>
                </a:r>
                <a:r>
                  <a:rPr lang="en-US" dirty="0" err="1" smtClean="0">
                    <a:solidFill>
                      <a:schemeClr val="tx1"/>
                    </a:solidFill>
                  </a:rPr>
                  <a:t>Servidor</a:t>
                </a:r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Rectangle 14"/>
              <p:cNvSpPr/>
              <p:nvPr/>
            </p:nvSpPr>
            <p:spPr>
              <a:xfrm>
                <a:off x="3886200" y="3962400"/>
                <a:ext cx="609600" cy="762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TextBox 39"/>
              <p:cNvSpPr txBox="1"/>
              <p:nvPr/>
            </p:nvSpPr>
            <p:spPr>
              <a:xfrm>
                <a:off x="2971800" y="4953000"/>
                <a:ext cx="914400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 dirty="0" smtClean="0"/>
                  <a:t>VF2 - </a:t>
                </a:r>
                <a:r>
                  <a:rPr lang="en-US" sz="1600" b="1" dirty="0" err="1" smtClean="0"/>
                  <a:t>Servidor</a:t>
                </a:r>
                <a:endParaRPr lang="en-US" sz="1600" b="1" dirty="0"/>
              </a:p>
            </p:txBody>
          </p:sp>
          <p:pic>
            <p:nvPicPr>
              <p:cNvPr id="56" name="Picture 2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3124200" y="4343400"/>
                <a:ext cx="571500" cy="6397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57" name="Rectangle 28"/>
              <p:cNvSpPr/>
              <p:nvPr/>
            </p:nvSpPr>
            <p:spPr>
              <a:xfrm>
                <a:off x="4191000" y="3505200"/>
                <a:ext cx="3429000" cy="2286000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Rectangle 30"/>
              <p:cNvSpPr/>
              <p:nvPr/>
            </p:nvSpPr>
            <p:spPr>
              <a:xfrm>
                <a:off x="5257800" y="3505200"/>
                <a:ext cx="2362200" cy="381000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>
                    <a:solidFill>
                      <a:schemeClr val="tx1"/>
                    </a:solidFill>
                  </a:rPr>
                  <a:t>VF2 .1- </a:t>
                </a:r>
                <a:r>
                  <a:rPr lang="en-US" dirty="0" err="1" smtClean="0">
                    <a:solidFill>
                      <a:schemeClr val="tx1"/>
                    </a:solidFill>
                  </a:rPr>
                  <a:t>Temporizador</a:t>
                </a:r>
                <a:endParaRPr lang="en-US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60" name="Conector reto 59"/>
              <p:cNvCxnSpPr>
                <a:stCxn id="56" idx="3"/>
                <a:endCxn id="5" idx="2"/>
              </p:cNvCxnSpPr>
              <p:nvPr/>
            </p:nvCxnSpPr>
            <p:spPr>
              <a:xfrm>
                <a:off x="3695700" y="4663282"/>
                <a:ext cx="1714500" cy="7635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" name="Oval 4"/>
            <p:cNvSpPr/>
            <p:nvPr>
              <p:custDataLst>
                <p:tags r:id="rId4"/>
              </p:custDataLst>
            </p:nvPr>
          </p:nvSpPr>
          <p:spPr>
            <a:xfrm>
              <a:off x="4267200" y="7772400"/>
              <a:ext cx="1600200" cy="64008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err="1" smtClean="0">
                  <a:solidFill>
                    <a:schemeClr val="tx1"/>
                  </a:solidFill>
                </a:rPr>
                <a:t>Temporizar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5" name="Rectangle 14"/>
          <p:cNvSpPr/>
          <p:nvPr>
            <p:custDataLst>
              <p:tags r:id="rId2"/>
            </p:custDataLst>
          </p:nvPr>
        </p:nvSpPr>
        <p:spPr>
          <a:xfrm>
            <a:off x="838200" y="8458200"/>
            <a:ext cx="609600" cy="76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01" name="Objeto 10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0" r:id="rId8" imgW="0" imgH="0" progId="TCLayout.ActiveDocument.1">
              <p:embed/>
            </p:oleObj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LAg.AZak6VjQ57dVSe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24yCf5ZkSZJBOw.BcCk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VYJ8rWhE.w6jWz43AV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24yCf5ZkSZJBOw.BcC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VYJ8rWhE.w6jWz43AV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24yCf5ZkSZJBOw.BcCk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VYJ8rWhE.w6jWz43AV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24yCf5ZkSZJBOw.BcC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VYJ8rWhE.w6jWz43AVo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WXKvfFiUm0xgzOF8cq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WXKvfFiUm0xgzOF8cq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WYvAcybki8Su2qRGH_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WmkL5HE0Gzrzm7_SYg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24yCf5ZkSZJBOw.BcC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24yCf5ZkSZJBOw.BcC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VYJ8rWhE.w6jWz43AV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LAg.AZak6VjQ57dVSe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WmkL5HE0Gzrzm7_SYgx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Q1ZODVI0GNsDm7N704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NsqrFND0SWaVlG_61DU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24yCf5ZkSZJBOw.BcC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WYvAcybki8Su2qRGH_Q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VYJ8rWhE.w6jWz43AV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WXKvfFiUm0xgzOF8cq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WYvAcybki8Su2qRGH_Q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iQADRUAEKUI0jjkWMBG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OHy_ZPBkCCX0qXxAC21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rF3Z68k0mjlHSYuVTB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WmkL5HE0Gzrzm7_SYg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NsqrFND0SWaVlG_61D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24yCf5ZkSZJBOw.BcCk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VYJ8rWhE.w6jWz43AV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24yCf5ZkSZJBOw.BcC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VYJ8rWhE.w6jWz43AVo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79</TotalTime>
  <Words>196</Words>
  <Application>Microsoft Office PowerPoint</Application>
  <PresentationFormat>Personalizar</PresentationFormat>
  <Paragraphs>70</Paragraphs>
  <Slides>3</Slides>
  <Notes>3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0</vt:i4>
      </vt:variant>
      <vt:variant>
        <vt:lpstr>Títulos de slides</vt:lpstr>
      </vt:variant>
      <vt:variant>
        <vt:i4>3</vt:i4>
      </vt:variant>
    </vt:vector>
  </HeadingPairs>
  <TitlesOfParts>
    <vt:vector size="4" baseType="lpstr">
      <vt:lpstr>Office Theme</vt:lpstr>
      <vt:lpstr>Slide 1</vt:lpstr>
      <vt:lpstr>Slide 2</vt:lpstr>
      <vt:lpstr>Slide 3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diego</dc:creator>
  <cp:lastModifiedBy>Lívia Palomo Vidal</cp:lastModifiedBy>
  <cp:revision>82</cp:revision>
  <dcterms:created xsi:type="dcterms:W3CDTF">2009-03-22T21:06:16Z</dcterms:created>
  <dcterms:modified xsi:type="dcterms:W3CDTF">2009-06-30T02:58:43Z</dcterms:modified>
</cp:coreProperties>
</file>